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2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notesSlides/notesSlide3.xml" ContentType="application/vnd.openxmlformats-officedocument.presentationml.notesSlide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ppt/diagrams/data38.xml" ContentType="application/vnd.openxmlformats-officedocument.drawingml.diagramData+xml"/>
  <Override PartName="/ppt/diagrams/layout38.xml" ContentType="application/vnd.openxmlformats-officedocument.drawingml.diagramLayout+xml"/>
  <Override PartName="/ppt/diagrams/quickStyle38.xml" ContentType="application/vnd.openxmlformats-officedocument.drawingml.diagramStyle+xml"/>
  <Override PartName="/ppt/diagrams/colors38.xml" ContentType="application/vnd.openxmlformats-officedocument.drawingml.diagramColors+xml"/>
  <Override PartName="/ppt/diagrams/drawing38.xml" ContentType="application/vnd.ms-office.drawingml.diagramDrawing+xml"/>
  <Override PartName="/ppt/diagrams/data39.xml" ContentType="application/vnd.openxmlformats-officedocument.drawingml.diagramData+xml"/>
  <Override PartName="/ppt/diagrams/layout39.xml" ContentType="application/vnd.openxmlformats-officedocument.drawingml.diagramLayout+xml"/>
  <Override PartName="/ppt/diagrams/quickStyle39.xml" ContentType="application/vnd.openxmlformats-officedocument.drawingml.diagramStyle+xml"/>
  <Override PartName="/ppt/diagrams/colors39.xml" ContentType="application/vnd.openxmlformats-officedocument.drawingml.diagramColors+xml"/>
  <Override PartName="/ppt/diagrams/drawing39.xml" ContentType="application/vnd.ms-office.drawingml.diagramDrawing+xml"/>
  <Override PartName="/ppt/diagrams/data40.xml" ContentType="application/vnd.openxmlformats-officedocument.drawingml.diagramData+xml"/>
  <Override PartName="/ppt/diagrams/layout40.xml" ContentType="application/vnd.openxmlformats-officedocument.drawingml.diagramLayout+xml"/>
  <Override PartName="/ppt/diagrams/quickStyle40.xml" ContentType="application/vnd.openxmlformats-officedocument.drawingml.diagramStyle+xml"/>
  <Override PartName="/ppt/diagrams/colors40.xml" ContentType="application/vnd.openxmlformats-officedocument.drawingml.diagramColors+xml"/>
  <Override PartName="/ppt/diagrams/drawing40.xml" ContentType="application/vnd.ms-office.drawingml.diagramDrawing+xml"/>
  <Override PartName="/ppt/diagrams/data41.xml" ContentType="application/vnd.openxmlformats-officedocument.drawingml.diagramData+xml"/>
  <Override PartName="/ppt/diagrams/layout41.xml" ContentType="application/vnd.openxmlformats-officedocument.drawingml.diagramLayout+xml"/>
  <Override PartName="/ppt/diagrams/quickStyle41.xml" ContentType="application/vnd.openxmlformats-officedocument.drawingml.diagramStyle+xml"/>
  <Override PartName="/ppt/diagrams/colors41.xml" ContentType="application/vnd.openxmlformats-officedocument.drawingml.diagramColors+xml"/>
  <Override PartName="/ppt/diagrams/drawing41.xml" ContentType="application/vnd.ms-office.drawingml.diagramDrawing+xml"/>
  <Override PartName="/ppt/diagrams/data42.xml" ContentType="application/vnd.openxmlformats-officedocument.drawingml.diagramData+xml"/>
  <Override PartName="/ppt/diagrams/layout42.xml" ContentType="application/vnd.openxmlformats-officedocument.drawingml.diagramLayout+xml"/>
  <Override PartName="/ppt/diagrams/quickStyle42.xml" ContentType="application/vnd.openxmlformats-officedocument.drawingml.diagramStyle+xml"/>
  <Override PartName="/ppt/diagrams/colors42.xml" ContentType="application/vnd.openxmlformats-officedocument.drawingml.diagramColors+xml"/>
  <Override PartName="/ppt/diagrams/drawing42.xml" ContentType="application/vnd.ms-office.drawingml.diagramDrawing+xml"/>
  <Override PartName="/ppt/notesSlides/notesSlide4.xml" ContentType="application/vnd.openxmlformats-officedocument.presentationml.notesSlide+xml"/>
  <Override PartName="/ppt/diagrams/data43.xml" ContentType="application/vnd.openxmlformats-officedocument.drawingml.diagramData+xml"/>
  <Override PartName="/ppt/diagrams/layout43.xml" ContentType="application/vnd.openxmlformats-officedocument.drawingml.diagramLayout+xml"/>
  <Override PartName="/ppt/diagrams/quickStyle43.xml" ContentType="application/vnd.openxmlformats-officedocument.drawingml.diagramStyle+xml"/>
  <Override PartName="/ppt/diagrams/colors43.xml" ContentType="application/vnd.openxmlformats-officedocument.drawingml.diagramColors+xml"/>
  <Override PartName="/ppt/diagrams/drawing43.xml" ContentType="application/vnd.ms-office.drawingml.diagramDrawing+xml"/>
  <Override PartName="/ppt/diagrams/data44.xml" ContentType="application/vnd.openxmlformats-officedocument.drawingml.diagramData+xml"/>
  <Override PartName="/ppt/diagrams/layout44.xml" ContentType="application/vnd.openxmlformats-officedocument.drawingml.diagramLayout+xml"/>
  <Override PartName="/ppt/diagrams/quickStyle44.xml" ContentType="application/vnd.openxmlformats-officedocument.drawingml.diagramStyle+xml"/>
  <Override PartName="/ppt/diagrams/colors44.xml" ContentType="application/vnd.openxmlformats-officedocument.drawingml.diagramColors+xml"/>
  <Override PartName="/ppt/diagrams/drawing44.xml" ContentType="application/vnd.ms-office.drawingml.diagramDrawing+xml"/>
  <Override PartName="/ppt/diagrams/data45.xml" ContentType="application/vnd.openxmlformats-officedocument.drawingml.diagramData+xml"/>
  <Override PartName="/ppt/diagrams/layout45.xml" ContentType="application/vnd.openxmlformats-officedocument.drawingml.diagramLayout+xml"/>
  <Override PartName="/ppt/diagrams/quickStyle45.xml" ContentType="application/vnd.openxmlformats-officedocument.drawingml.diagramStyle+xml"/>
  <Override PartName="/ppt/diagrams/colors45.xml" ContentType="application/vnd.openxmlformats-officedocument.drawingml.diagramColors+xml"/>
  <Override PartName="/ppt/diagrams/drawing45.xml" ContentType="application/vnd.ms-office.drawingml.diagramDrawing+xml"/>
  <Override PartName="/ppt/diagrams/data46.xml" ContentType="application/vnd.openxmlformats-officedocument.drawingml.diagramData+xml"/>
  <Override PartName="/ppt/diagrams/layout46.xml" ContentType="application/vnd.openxmlformats-officedocument.drawingml.diagramLayout+xml"/>
  <Override PartName="/ppt/diagrams/quickStyle46.xml" ContentType="application/vnd.openxmlformats-officedocument.drawingml.diagramStyle+xml"/>
  <Override PartName="/ppt/diagrams/colors46.xml" ContentType="application/vnd.openxmlformats-officedocument.drawingml.diagramColors+xml"/>
  <Override PartName="/ppt/diagrams/drawing46.xml" ContentType="application/vnd.ms-office.drawingml.diagramDrawing+xml"/>
  <Override PartName="/ppt/diagrams/data47.xml" ContentType="application/vnd.openxmlformats-officedocument.drawingml.diagramData+xml"/>
  <Override PartName="/ppt/diagrams/layout47.xml" ContentType="application/vnd.openxmlformats-officedocument.drawingml.diagramLayout+xml"/>
  <Override PartName="/ppt/diagrams/quickStyle47.xml" ContentType="application/vnd.openxmlformats-officedocument.drawingml.diagramStyle+xml"/>
  <Override PartName="/ppt/diagrams/colors47.xml" ContentType="application/vnd.openxmlformats-officedocument.drawingml.diagramColors+xml"/>
  <Override PartName="/ppt/diagrams/drawing47.xml" ContentType="application/vnd.ms-office.drawingml.diagramDrawing+xml"/>
  <Override PartName="/ppt/diagrams/data48.xml" ContentType="application/vnd.openxmlformats-officedocument.drawingml.diagramData+xml"/>
  <Override PartName="/ppt/diagrams/layout48.xml" ContentType="application/vnd.openxmlformats-officedocument.drawingml.diagramLayout+xml"/>
  <Override PartName="/ppt/diagrams/quickStyle48.xml" ContentType="application/vnd.openxmlformats-officedocument.drawingml.diagramStyle+xml"/>
  <Override PartName="/ppt/diagrams/colors48.xml" ContentType="application/vnd.openxmlformats-officedocument.drawingml.diagramColors+xml"/>
  <Override PartName="/ppt/diagrams/drawing48.xml" ContentType="application/vnd.ms-office.drawingml.diagramDrawing+xml"/>
  <Override PartName="/ppt/diagrams/data49.xml" ContentType="application/vnd.openxmlformats-officedocument.drawingml.diagramData+xml"/>
  <Override PartName="/ppt/diagrams/layout49.xml" ContentType="application/vnd.openxmlformats-officedocument.drawingml.diagramLayout+xml"/>
  <Override PartName="/ppt/diagrams/quickStyle49.xml" ContentType="application/vnd.openxmlformats-officedocument.drawingml.diagramStyle+xml"/>
  <Override PartName="/ppt/diagrams/colors49.xml" ContentType="application/vnd.openxmlformats-officedocument.drawingml.diagramColors+xml"/>
  <Override PartName="/ppt/diagrams/drawing49.xml" ContentType="application/vnd.ms-office.drawingml.diagramDrawing+xml"/>
  <Override PartName="/ppt/diagrams/data50.xml" ContentType="application/vnd.openxmlformats-officedocument.drawingml.diagramData+xml"/>
  <Override PartName="/ppt/diagrams/layout50.xml" ContentType="application/vnd.openxmlformats-officedocument.drawingml.diagramLayout+xml"/>
  <Override PartName="/ppt/diagrams/quickStyle50.xml" ContentType="application/vnd.openxmlformats-officedocument.drawingml.diagramStyle+xml"/>
  <Override PartName="/ppt/diagrams/colors50.xml" ContentType="application/vnd.openxmlformats-officedocument.drawingml.diagramColors+xml"/>
  <Override PartName="/ppt/diagrams/drawing50.xml" ContentType="application/vnd.ms-office.drawingml.diagramDrawing+xml"/>
  <Override PartName="/ppt/diagrams/data51.xml" ContentType="application/vnd.openxmlformats-officedocument.drawingml.diagramData+xml"/>
  <Override PartName="/ppt/diagrams/layout51.xml" ContentType="application/vnd.openxmlformats-officedocument.drawingml.diagramLayout+xml"/>
  <Override PartName="/ppt/diagrams/quickStyle51.xml" ContentType="application/vnd.openxmlformats-officedocument.drawingml.diagramStyle+xml"/>
  <Override PartName="/ppt/diagrams/colors51.xml" ContentType="application/vnd.openxmlformats-officedocument.drawingml.diagramColors+xml"/>
  <Override PartName="/ppt/diagrams/drawing51.xml" ContentType="application/vnd.ms-office.drawingml.diagramDrawing+xml"/>
  <Override PartName="/ppt/diagrams/data52.xml" ContentType="application/vnd.openxmlformats-officedocument.drawingml.diagramData+xml"/>
  <Override PartName="/ppt/diagrams/layout52.xml" ContentType="application/vnd.openxmlformats-officedocument.drawingml.diagramLayout+xml"/>
  <Override PartName="/ppt/diagrams/quickStyle52.xml" ContentType="application/vnd.openxmlformats-officedocument.drawingml.diagramStyle+xml"/>
  <Override PartName="/ppt/diagrams/colors52.xml" ContentType="application/vnd.openxmlformats-officedocument.drawingml.diagramColors+xml"/>
  <Override PartName="/ppt/diagrams/drawing52.xml" ContentType="application/vnd.ms-office.drawingml.diagramDrawing+xml"/>
  <Override PartName="/ppt/diagrams/data53.xml" ContentType="application/vnd.openxmlformats-officedocument.drawingml.diagramData+xml"/>
  <Override PartName="/ppt/diagrams/layout53.xml" ContentType="application/vnd.openxmlformats-officedocument.drawingml.diagramLayout+xml"/>
  <Override PartName="/ppt/diagrams/quickStyle53.xml" ContentType="application/vnd.openxmlformats-officedocument.drawingml.diagramStyle+xml"/>
  <Override PartName="/ppt/diagrams/colors53.xml" ContentType="application/vnd.openxmlformats-officedocument.drawingml.diagramColors+xml"/>
  <Override PartName="/ppt/diagrams/drawing53.xml" ContentType="application/vnd.ms-office.drawingml.diagramDrawing+xml"/>
  <Override PartName="/ppt/diagrams/data54.xml" ContentType="application/vnd.openxmlformats-officedocument.drawingml.diagramData+xml"/>
  <Override PartName="/ppt/diagrams/layout54.xml" ContentType="application/vnd.openxmlformats-officedocument.drawingml.diagramLayout+xml"/>
  <Override PartName="/ppt/diagrams/quickStyle54.xml" ContentType="application/vnd.openxmlformats-officedocument.drawingml.diagramStyle+xml"/>
  <Override PartName="/ppt/diagrams/colors54.xml" ContentType="application/vnd.openxmlformats-officedocument.drawingml.diagramColors+xml"/>
  <Override PartName="/ppt/diagrams/drawing54.xml" ContentType="application/vnd.ms-office.drawingml.diagramDrawing+xml"/>
  <Override PartName="/ppt/diagrams/data55.xml" ContentType="application/vnd.openxmlformats-officedocument.drawingml.diagramData+xml"/>
  <Override PartName="/ppt/diagrams/layout55.xml" ContentType="application/vnd.openxmlformats-officedocument.drawingml.diagramLayout+xml"/>
  <Override PartName="/ppt/diagrams/quickStyle55.xml" ContentType="application/vnd.openxmlformats-officedocument.drawingml.diagramStyle+xml"/>
  <Override PartName="/ppt/diagrams/colors55.xml" ContentType="application/vnd.openxmlformats-officedocument.drawingml.diagramColors+xml"/>
  <Override PartName="/ppt/diagrams/drawing55.xml" ContentType="application/vnd.ms-office.drawingml.diagramDrawing+xml"/>
  <Override PartName="/ppt/diagrams/data56.xml" ContentType="application/vnd.openxmlformats-officedocument.drawingml.diagramData+xml"/>
  <Override PartName="/ppt/diagrams/layout56.xml" ContentType="application/vnd.openxmlformats-officedocument.drawingml.diagramLayout+xml"/>
  <Override PartName="/ppt/diagrams/quickStyle56.xml" ContentType="application/vnd.openxmlformats-officedocument.drawingml.diagramStyle+xml"/>
  <Override PartName="/ppt/diagrams/colors56.xml" ContentType="application/vnd.openxmlformats-officedocument.drawingml.diagramColors+xml"/>
  <Override PartName="/ppt/diagrams/drawing56.xml" ContentType="application/vnd.ms-office.drawingml.diagramDrawing+xml"/>
  <Override PartName="/ppt/diagrams/data57.xml" ContentType="application/vnd.openxmlformats-officedocument.drawingml.diagramData+xml"/>
  <Override PartName="/ppt/diagrams/layout57.xml" ContentType="application/vnd.openxmlformats-officedocument.drawingml.diagramLayout+xml"/>
  <Override PartName="/ppt/diagrams/quickStyle57.xml" ContentType="application/vnd.openxmlformats-officedocument.drawingml.diagramStyle+xml"/>
  <Override PartName="/ppt/diagrams/colors57.xml" ContentType="application/vnd.openxmlformats-officedocument.drawingml.diagramColors+xml"/>
  <Override PartName="/ppt/diagrams/drawing57.xml" ContentType="application/vnd.ms-office.drawingml.diagramDrawing+xml"/>
  <Override PartName="/ppt/diagrams/data58.xml" ContentType="application/vnd.openxmlformats-officedocument.drawingml.diagramData+xml"/>
  <Override PartName="/ppt/diagrams/layout58.xml" ContentType="application/vnd.openxmlformats-officedocument.drawingml.diagramLayout+xml"/>
  <Override PartName="/ppt/diagrams/quickStyle58.xml" ContentType="application/vnd.openxmlformats-officedocument.drawingml.diagramStyle+xml"/>
  <Override PartName="/ppt/diagrams/colors58.xml" ContentType="application/vnd.openxmlformats-officedocument.drawingml.diagramColors+xml"/>
  <Override PartName="/ppt/diagrams/drawing58.xml" ContentType="application/vnd.ms-office.drawingml.diagramDrawing+xml"/>
  <Override PartName="/ppt/notesSlides/notesSlide5.xml" ContentType="application/vnd.openxmlformats-officedocument.presentationml.notesSlide+xml"/>
  <Override PartName="/ppt/diagrams/data59.xml" ContentType="application/vnd.openxmlformats-officedocument.drawingml.diagramData+xml"/>
  <Override PartName="/ppt/diagrams/layout59.xml" ContentType="application/vnd.openxmlformats-officedocument.drawingml.diagramLayout+xml"/>
  <Override PartName="/ppt/diagrams/quickStyle59.xml" ContentType="application/vnd.openxmlformats-officedocument.drawingml.diagramStyle+xml"/>
  <Override PartName="/ppt/diagrams/colors59.xml" ContentType="application/vnd.openxmlformats-officedocument.drawingml.diagramColors+xml"/>
  <Override PartName="/ppt/diagrams/drawing59.xml" ContentType="application/vnd.ms-office.drawingml.diagramDrawing+xml"/>
  <Override PartName="/ppt/diagrams/data60.xml" ContentType="application/vnd.openxmlformats-officedocument.drawingml.diagramData+xml"/>
  <Override PartName="/ppt/diagrams/layout60.xml" ContentType="application/vnd.openxmlformats-officedocument.drawingml.diagramLayout+xml"/>
  <Override PartName="/ppt/diagrams/quickStyle60.xml" ContentType="application/vnd.openxmlformats-officedocument.drawingml.diagramStyle+xml"/>
  <Override PartName="/ppt/diagrams/colors60.xml" ContentType="application/vnd.openxmlformats-officedocument.drawingml.diagramColors+xml"/>
  <Override PartName="/ppt/diagrams/drawing60.xml" ContentType="application/vnd.ms-office.drawingml.diagramDrawing+xml"/>
  <Override PartName="/ppt/diagrams/data61.xml" ContentType="application/vnd.openxmlformats-officedocument.drawingml.diagramData+xml"/>
  <Override PartName="/ppt/diagrams/layout61.xml" ContentType="application/vnd.openxmlformats-officedocument.drawingml.diagramLayout+xml"/>
  <Override PartName="/ppt/diagrams/quickStyle61.xml" ContentType="application/vnd.openxmlformats-officedocument.drawingml.diagramStyle+xml"/>
  <Override PartName="/ppt/diagrams/colors61.xml" ContentType="application/vnd.openxmlformats-officedocument.drawingml.diagramColors+xml"/>
  <Override PartName="/ppt/diagrams/drawing61.xml" ContentType="application/vnd.ms-office.drawingml.diagramDrawing+xml"/>
  <Override PartName="/ppt/diagrams/data62.xml" ContentType="application/vnd.openxmlformats-officedocument.drawingml.diagramData+xml"/>
  <Override PartName="/ppt/diagrams/layout62.xml" ContentType="application/vnd.openxmlformats-officedocument.drawingml.diagramLayout+xml"/>
  <Override PartName="/ppt/diagrams/quickStyle62.xml" ContentType="application/vnd.openxmlformats-officedocument.drawingml.diagramStyle+xml"/>
  <Override PartName="/ppt/diagrams/colors62.xml" ContentType="application/vnd.openxmlformats-officedocument.drawingml.diagramColors+xml"/>
  <Override PartName="/ppt/diagrams/drawing62.xml" ContentType="application/vnd.ms-office.drawingml.diagramDrawing+xml"/>
  <Override PartName="/ppt/diagrams/data63.xml" ContentType="application/vnd.openxmlformats-officedocument.drawingml.diagramData+xml"/>
  <Override PartName="/ppt/diagrams/layout63.xml" ContentType="application/vnd.openxmlformats-officedocument.drawingml.diagramLayout+xml"/>
  <Override PartName="/ppt/diagrams/quickStyle63.xml" ContentType="application/vnd.openxmlformats-officedocument.drawingml.diagramStyle+xml"/>
  <Override PartName="/ppt/diagrams/colors63.xml" ContentType="application/vnd.openxmlformats-officedocument.drawingml.diagramColors+xml"/>
  <Override PartName="/ppt/diagrams/drawing63.xml" ContentType="application/vnd.ms-office.drawingml.diagramDrawing+xml"/>
  <Override PartName="/ppt/diagrams/data64.xml" ContentType="application/vnd.openxmlformats-officedocument.drawingml.diagramData+xml"/>
  <Override PartName="/ppt/diagrams/layout64.xml" ContentType="application/vnd.openxmlformats-officedocument.drawingml.diagramLayout+xml"/>
  <Override PartName="/ppt/diagrams/quickStyle64.xml" ContentType="application/vnd.openxmlformats-officedocument.drawingml.diagramStyle+xml"/>
  <Override PartName="/ppt/diagrams/colors64.xml" ContentType="application/vnd.openxmlformats-officedocument.drawingml.diagramColors+xml"/>
  <Override PartName="/ppt/diagrams/drawing64.xml" ContentType="application/vnd.ms-office.drawingml.diagramDrawing+xml"/>
  <Override PartName="/ppt/diagrams/data65.xml" ContentType="application/vnd.openxmlformats-officedocument.drawingml.diagramData+xml"/>
  <Override PartName="/ppt/diagrams/layout65.xml" ContentType="application/vnd.openxmlformats-officedocument.drawingml.diagramLayout+xml"/>
  <Override PartName="/ppt/diagrams/quickStyle65.xml" ContentType="application/vnd.openxmlformats-officedocument.drawingml.diagramStyle+xml"/>
  <Override PartName="/ppt/diagrams/colors65.xml" ContentType="application/vnd.openxmlformats-officedocument.drawingml.diagramColors+xml"/>
  <Override PartName="/ppt/diagrams/drawing65.xml" ContentType="application/vnd.ms-office.drawingml.diagramDrawing+xml"/>
  <Override PartName="/ppt/diagrams/data66.xml" ContentType="application/vnd.openxmlformats-officedocument.drawingml.diagramData+xml"/>
  <Override PartName="/ppt/diagrams/layout66.xml" ContentType="application/vnd.openxmlformats-officedocument.drawingml.diagramLayout+xml"/>
  <Override PartName="/ppt/diagrams/quickStyle66.xml" ContentType="application/vnd.openxmlformats-officedocument.drawingml.diagramStyle+xml"/>
  <Override PartName="/ppt/diagrams/colors66.xml" ContentType="application/vnd.openxmlformats-officedocument.drawingml.diagramColors+xml"/>
  <Override PartName="/ppt/diagrams/drawing66.xml" ContentType="application/vnd.ms-office.drawingml.diagramDrawing+xml"/>
  <Override PartName="/ppt/diagrams/data67.xml" ContentType="application/vnd.openxmlformats-officedocument.drawingml.diagramData+xml"/>
  <Override PartName="/ppt/diagrams/layout67.xml" ContentType="application/vnd.openxmlformats-officedocument.drawingml.diagramLayout+xml"/>
  <Override PartName="/ppt/diagrams/quickStyle67.xml" ContentType="application/vnd.openxmlformats-officedocument.drawingml.diagramStyle+xml"/>
  <Override PartName="/ppt/diagrams/colors67.xml" ContentType="application/vnd.openxmlformats-officedocument.drawingml.diagramColors+xml"/>
  <Override PartName="/ppt/diagrams/drawing67.xml" ContentType="application/vnd.ms-office.drawingml.diagramDrawing+xml"/>
  <Override PartName="/ppt/diagrams/data68.xml" ContentType="application/vnd.openxmlformats-officedocument.drawingml.diagramData+xml"/>
  <Override PartName="/ppt/diagrams/layout68.xml" ContentType="application/vnd.openxmlformats-officedocument.drawingml.diagramLayout+xml"/>
  <Override PartName="/ppt/diagrams/quickStyle68.xml" ContentType="application/vnd.openxmlformats-officedocument.drawingml.diagramStyle+xml"/>
  <Override PartName="/ppt/diagrams/colors68.xml" ContentType="application/vnd.openxmlformats-officedocument.drawingml.diagramColors+xml"/>
  <Override PartName="/ppt/diagrams/drawing68.xml" ContentType="application/vnd.ms-office.drawingml.diagramDrawing+xml"/>
  <Override PartName="/ppt/diagrams/data69.xml" ContentType="application/vnd.openxmlformats-officedocument.drawingml.diagramData+xml"/>
  <Override PartName="/ppt/diagrams/layout69.xml" ContentType="application/vnd.openxmlformats-officedocument.drawingml.diagramLayout+xml"/>
  <Override PartName="/ppt/diagrams/quickStyle69.xml" ContentType="application/vnd.openxmlformats-officedocument.drawingml.diagramStyle+xml"/>
  <Override PartName="/ppt/diagrams/colors69.xml" ContentType="application/vnd.openxmlformats-officedocument.drawingml.diagramColors+xml"/>
  <Override PartName="/ppt/diagrams/drawing69.xml" ContentType="application/vnd.ms-office.drawingml.diagramDrawing+xml"/>
  <Override PartName="/ppt/diagrams/data70.xml" ContentType="application/vnd.openxmlformats-officedocument.drawingml.diagramData+xml"/>
  <Override PartName="/ppt/diagrams/layout70.xml" ContentType="application/vnd.openxmlformats-officedocument.drawingml.diagramLayout+xml"/>
  <Override PartName="/ppt/diagrams/quickStyle70.xml" ContentType="application/vnd.openxmlformats-officedocument.drawingml.diagramStyle+xml"/>
  <Override PartName="/ppt/diagrams/colors70.xml" ContentType="application/vnd.openxmlformats-officedocument.drawingml.diagramColors+xml"/>
  <Override PartName="/ppt/diagrams/drawing70.xml" ContentType="application/vnd.ms-office.drawingml.diagramDrawing+xml"/>
  <Override PartName="/ppt/diagrams/data71.xml" ContentType="application/vnd.openxmlformats-officedocument.drawingml.diagramData+xml"/>
  <Override PartName="/ppt/diagrams/layout71.xml" ContentType="application/vnd.openxmlformats-officedocument.drawingml.diagramLayout+xml"/>
  <Override PartName="/ppt/diagrams/quickStyle71.xml" ContentType="application/vnd.openxmlformats-officedocument.drawingml.diagramStyle+xml"/>
  <Override PartName="/ppt/diagrams/colors71.xml" ContentType="application/vnd.openxmlformats-officedocument.drawingml.diagramColors+xml"/>
  <Override PartName="/ppt/diagrams/drawing71.xml" ContentType="application/vnd.ms-office.drawingml.diagramDrawing+xml"/>
  <Override PartName="/ppt/diagrams/data72.xml" ContentType="application/vnd.openxmlformats-officedocument.drawingml.diagramData+xml"/>
  <Override PartName="/ppt/diagrams/layout72.xml" ContentType="application/vnd.openxmlformats-officedocument.drawingml.diagramLayout+xml"/>
  <Override PartName="/ppt/diagrams/quickStyle72.xml" ContentType="application/vnd.openxmlformats-officedocument.drawingml.diagramStyle+xml"/>
  <Override PartName="/ppt/diagrams/colors72.xml" ContentType="application/vnd.openxmlformats-officedocument.drawingml.diagramColors+xml"/>
  <Override PartName="/ppt/diagrams/drawing72.xml" ContentType="application/vnd.ms-office.drawingml.diagramDrawing+xml"/>
  <Override PartName="/ppt/diagrams/data73.xml" ContentType="application/vnd.openxmlformats-officedocument.drawingml.diagramData+xml"/>
  <Override PartName="/ppt/diagrams/layout73.xml" ContentType="application/vnd.openxmlformats-officedocument.drawingml.diagramLayout+xml"/>
  <Override PartName="/ppt/diagrams/quickStyle73.xml" ContentType="application/vnd.openxmlformats-officedocument.drawingml.diagramStyle+xml"/>
  <Override PartName="/ppt/diagrams/colors73.xml" ContentType="application/vnd.openxmlformats-officedocument.drawingml.diagramColors+xml"/>
  <Override PartName="/ppt/diagrams/drawing73.xml" ContentType="application/vnd.ms-office.drawingml.diagramDrawing+xml"/>
  <Override PartName="/ppt/diagrams/data74.xml" ContentType="application/vnd.openxmlformats-officedocument.drawingml.diagramData+xml"/>
  <Override PartName="/ppt/diagrams/layout74.xml" ContentType="application/vnd.openxmlformats-officedocument.drawingml.diagramLayout+xml"/>
  <Override PartName="/ppt/diagrams/quickStyle74.xml" ContentType="application/vnd.openxmlformats-officedocument.drawingml.diagramStyle+xml"/>
  <Override PartName="/ppt/diagrams/colors74.xml" ContentType="application/vnd.openxmlformats-officedocument.drawingml.diagramColors+xml"/>
  <Override PartName="/ppt/diagrams/drawing74.xml" ContentType="application/vnd.ms-office.drawingml.diagramDrawing+xml"/>
  <Override PartName="/ppt/diagrams/data75.xml" ContentType="application/vnd.openxmlformats-officedocument.drawingml.diagramData+xml"/>
  <Override PartName="/ppt/diagrams/layout75.xml" ContentType="application/vnd.openxmlformats-officedocument.drawingml.diagramLayout+xml"/>
  <Override PartName="/ppt/diagrams/quickStyle75.xml" ContentType="application/vnd.openxmlformats-officedocument.drawingml.diagramStyle+xml"/>
  <Override PartName="/ppt/diagrams/colors75.xml" ContentType="application/vnd.openxmlformats-officedocument.drawingml.diagramColors+xml"/>
  <Override PartName="/ppt/diagrams/drawing75.xml" ContentType="application/vnd.ms-office.drawingml.diagramDrawing+xml"/>
  <Override PartName="/ppt/diagrams/data76.xml" ContentType="application/vnd.openxmlformats-officedocument.drawingml.diagramData+xml"/>
  <Override PartName="/ppt/diagrams/layout76.xml" ContentType="application/vnd.openxmlformats-officedocument.drawingml.diagramLayout+xml"/>
  <Override PartName="/ppt/diagrams/quickStyle76.xml" ContentType="application/vnd.openxmlformats-officedocument.drawingml.diagramStyle+xml"/>
  <Override PartName="/ppt/diagrams/colors76.xml" ContentType="application/vnd.openxmlformats-officedocument.drawingml.diagramColors+xml"/>
  <Override PartName="/ppt/diagrams/drawing76.xml" ContentType="application/vnd.ms-office.drawingml.diagramDrawing+xml"/>
  <Override PartName="/ppt/diagrams/data77.xml" ContentType="application/vnd.openxmlformats-officedocument.drawingml.diagramData+xml"/>
  <Override PartName="/ppt/diagrams/layout77.xml" ContentType="application/vnd.openxmlformats-officedocument.drawingml.diagramLayout+xml"/>
  <Override PartName="/ppt/diagrams/quickStyle77.xml" ContentType="application/vnd.openxmlformats-officedocument.drawingml.diagramStyle+xml"/>
  <Override PartName="/ppt/diagrams/colors77.xml" ContentType="application/vnd.openxmlformats-officedocument.drawingml.diagramColors+xml"/>
  <Override PartName="/ppt/diagrams/drawing77.xml" ContentType="application/vnd.ms-office.drawingml.diagramDrawing+xml"/>
  <Override PartName="/ppt/diagrams/data78.xml" ContentType="application/vnd.openxmlformats-officedocument.drawingml.diagramData+xml"/>
  <Override PartName="/ppt/diagrams/layout78.xml" ContentType="application/vnd.openxmlformats-officedocument.drawingml.diagramLayout+xml"/>
  <Override PartName="/ppt/diagrams/quickStyle78.xml" ContentType="application/vnd.openxmlformats-officedocument.drawingml.diagramStyle+xml"/>
  <Override PartName="/ppt/diagrams/colors78.xml" ContentType="application/vnd.openxmlformats-officedocument.drawingml.diagramColors+xml"/>
  <Override PartName="/ppt/diagrams/drawing78.xml" ContentType="application/vnd.ms-office.drawingml.diagramDrawing+xml"/>
  <Override PartName="/ppt/diagrams/data79.xml" ContentType="application/vnd.openxmlformats-officedocument.drawingml.diagramData+xml"/>
  <Override PartName="/ppt/diagrams/layout79.xml" ContentType="application/vnd.openxmlformats-officedocument.drawingml.diagramLayout+xml"/>
  <Override PartName="/ppt/diagrams/quickStyle79.xml" ContentType="application/vnd.openxmlformats-officedocument.drawingml.diagramStyle+xml"/>
  <Override PartName="/ppt/diagrams/colors79.xml" ContentType="application/vnd.openxmlformats-officedocument.drawingml.diagramColors+xml"/>
  <Override PartName="/ppt/diagrams/drawing79.xml" ContentType="application/vnd.ms-office.drawingml.diagramDrawing+xml"/>
  <Override PartName="/ppt/diagrams/data80.xml" ContentType="application/vnd.openxmlformats-officedocument.drawingml.diagramData+xml"/>
  <Override PartName="/ppt/diagrams/layout80.xml" ContentType="application/vnd.openxmlformats-officedocument.drawingml.diagramLayout+xml"/>
  <Override PartName="/ppt/diagrams/quickStyle80.xml" ContentType="application/vnd.openxmlformats-officedocument.drawingml.diagramStyle+xml"/>
  <Override PartName="/ppt/diagrams/colors80.xml" ContentType="application/vnd.openxmlformats-officedocument.drawingml.diagramColors+xml"/>
  <Override PartName="/ppt/diagrams/drawing80.xml" ContentType="application/vnd.ms-office.drawingml.diagramDrawing+xml"/>
  <Override PartName="/ppt/diagrams/data81.xml" ContentType="application/vnd.openxmlformats-officedocument.drawingml.diagramData+xml"/>
  <Override PartName="/ppt/diagrams/layout81.xml" ContentType="application/vnd.openxmlformats-officedocument.drawingml.diagramLayout+xml"/>
  <Override PartName="/ppt/diagrams/quickStyle81.xml" ContentType="application/vnd.openxmlformats-officedocument.drawingml.diagramStyle+xml"/>
  <Override PartName="/ppt/diagrams/colors81.xml" ContentType="application/vnd.openxmlformats-officedocument.drawingml.diagramColors+xml"/>
  <Override PartName="/ppt/diagrams/drawing81.xml" ContentType="application/vnd.ms-office.drawingml.diagramDrawing+xml"/>
  <Override PartName="/ppt/diagrams/data82.xml" ContentType="application/vnd.openxmlformats-officedocument.drawingml.diagramData+xml"/>
  <Override PartName="/ppt/diagrams/layout82.xml" ContentType="application/vnd.openxmlformats-officedocument.drawingml.diagramLayout+xml"/>
  <Override PartName="/ppt/diagrams/quickStyle82.xml" ContentType="application/vnd.openxmlformats-officedocument.drawingml.diagramStyle+xml"/>
  <Override PartName="/ppt/diagrams/colors82.xml" ContentType="application/vnd.openxmlformats-officedocument.drawingml.diagramColors+xml"/>
  <Override PartName="/ppt/diagrams/drawing82.xml" ContentType="application/vnd.ms-office.drawingml.diagramDrawing+xml"/>
  <Override PartName="/ppt/diagrams/data83.xml" ContentType="application/vnd.openxmlformats-officedocument.drawingml.diagramData+xml"/>
  <Override PartName="/ppt/diagrams/layout83.xml" ContentType="application/vnd.openxmlformats-officedocument.drawingml.diagramLayout+xml"/>
  <Override PartName="/ppt/diagrams/quickStyle83.xml" ContentType="application/vnd.openxmlformats-officedocument.drawingml.diagramStyle+xml"/>
  <Override PartName="/ppt/diagrams/colors83.xml" ContentType="application/vnd.openxmlformats-officedocument.drawingml.diagramColors+xml"/>
  <Override PartName="/ppt/diagrams/drawing83.xml" ContentType="application/vnd.ms-office.drawingml.diagramDrawing+xml"/>
  <Override PartName="/ppt/diagrams/data84.xml" ContentType="application/vnd.openxmlformats-officedocument.drawingml.diagramData+xml"/>
  <Override PartName="/ppt/diagrams/layout84.xml" ContentType="application/vnd.openxmlformats-officedocument.drawingml.diagramLayout+xml"/>
  <Override PartName="/ppt/diagrams/quickStyle84.xml" ContentType="application/vnd.openxmlformats-officedocument.drawingml.diagramStyle+xml"/>
  <Override PartName="/ppt/diagrams/colors84.xml" ContentType="application/vnd.openxmlformats-officedocument.drawingml.diagramColors+xml"/>
  <Override PartName="/ppt/diagrams/drawing84.xml" ContentType="application/vnd.ms-office.drawingml.diagramDrawing+xml"/>
  <Override PartName="/ppt/diagrams/data85.xml" ContentType="application/vnd.openxmlformats-officedocument.drawingml.diagramData+xml"/>
  <Override PartName="/ppt/diagrams/layout85.xml" ContentType="application/vnd.openxmlformats-officedocument.drawingml.diagramLayout+xml"/>
  <Override PartName="/ppt/diagrams/quickStyle85.xml" ContentType="application/vnd.openxmlformats-officedocument.drawingml.diagramStyle+xml"/>
  <Override PartName="/ppt/diagrams/colors85.xml" ContentType="application/vnd.openxmlformats-officedocument.drawingml.diagramColors+xml"/>
  <Override PartName="/ppt/diagrams/drawing85.xml" ContentType="application/vnd.ms-office.drawingml.diagramDrawing+xml"/>
  <Override PartName="/ppt/diagrams/data86.xml" ContentType="application/vnd.openxmlformats-officedocument.drawingml.diagramData+xml"/>
  <Override PartName="/ppt/diagrams/layout86.xml" ContentType="application/vnd.openxmlformats-officedocument.drawingml.diagramLayout+xml"/>
  <Override PartName="/ppt/diagrams/quickStyle86.xml" ContentType="application/vnd.openxmlformats-officedocument.drawingml.diagramStyle+xml"/>
  <Override PartName="/ppt/diagrams/colors86.xml" ContentType="application/vnd.openxmlformats-officedocument.drawingml.diagramColors+xml"/>
  <Override PartName="/ppt/diagrams/drawing86.xml" ContentType="application/vnd.ms-office.drawingml.diagramDrawing+xml"/>
  <Override PartName="/ppt/diagrams/data87.xml" ContentType="application/vnd.openxmlformats-officedocument.drawingml.diagramData+xml"/>
  <Override PartName="/ppt/diagrams/layout87.xml" ContentType="application/vnd.openxmlformats-officedocument.drawingml.diagramLayout+xml"/>
  <Override PartName="/ppt/diagrams/quickStyle87.xml" ContentType="application/vnd.openxmlformats-officedocument.drawingml.diagramStyle+xml"/>
  <Override PartName="/ppt/diagrams/colors87.xml" ContentType="application/vnd.openxmlformats-officedocument.drawingml.diagramColors+xml"/>
  <Override PartName="/ppt/diagrams/drawing87.xml" ContentType="application/vnd.ms-office.drawingml.diagramDrawing+xml"/>
  <Override PartName="/ppt/notesSlides/notesSlide6.xml" ContentType="application/vnd.openxmlformats-officedocument.presentationml.notesSlide+xml"/>
  <Override PartName="/ppt/diagrams/data88.xml" ContentType="application/vnd.openxmlformats-officedocument.drawingml.diagramData+xml"/>
  <Override PartName="/ppt/diagrams/layout88.xml" ContentType="application/vnd.openxmlformats-officedocument.drawingml.diagramLayout+xml"/>
  <Override PartName="/ppt/diagrams/quickStyle88.xml" ContentType="application/vnd.openxmlformats-officedocument.drawingml.diagramStyle+xml"/>
  <Override PartName="/ppt/diagrams/colors88.xml" ContentType="application/vnd.openxmlformats-officedocument.drawingml.diagramColors+xml"/>
  <Override PartName="/ppt/diagrams/drawing88.xml" ContentType="application/vnd.ms-office.drawingml.diagramDrawing+xml"/>
  <Override PartName="/ppt/notesSlides/notesSlide7.xml" ContentType="application/vnd.openxmlformats-officedocument.presentationml.notesSlide+xml"/>
  <Override PartName="/ppt/diagrams/data89.xml" ContentType="application/vnd.openxmlformats-officedocument.drawingml.diagramData+xml"/>
  <Override PartName="/ppt/diagrams/layout89.xml" ContentType="application/vnd.openxmlformats-officedocument.drawingml.diagramLayout+xml"/>
  <Override PartName="/ppt/diagrams/quickStyle89.xml" ContentType="application/vnd.openxmlformats-officedocument.drawingml.diagramStyle+xml"/>
  <Override PartName="/ppt/diagrams/colors89.xml" ContentType="application/vnd.openxmlformats-officedocument.drawingml.diagramColors+xml"/>
  <Override PartName="/ppt/diagrams/drawing8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35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99" r:id="rId11"/>
    <p:sldId id="300" r:id="rId12"/>
    <p:sldId id="267" r:id="rId13"/>
    <p:sldId id="268" r:id="rId14"/>
    <p:sldId id="307" r:id="rId15"/>
    <p:sldId id="308" r:id="rId16"/>
    <p:sldId id="269" r:id="rId17"/>
    <p:sldId id="270" r:id="rId18"/>
    <p:sldId id="271" r:id="rId19"/>
    <p:sldId id="272" r:id="rId20"/>
    <p:sldId id="273" r:id="rId21"/>
    <p:sldId id="301" r:id="rId22"/>
    <p:sldId id="274" r:id="rId23"/>
    <p:sldId id="302" r:id="rId24"/>
    <p:sldId id="303" r:id="rId25"/>
    <p:sldId id="304" r:id="rId26"/>
    <p:sldId id="305" r:id="rId27"/>
    <p:sldId id="306" r:id="rId28"/>
    <p:sldId id="286" r:id="rId29"/>
    <p:sldId id="292" r:id="rId30"/>
    <p:sldId id="293" r:id="rId31"/>
    <p:sldId id="294" r:id="rId32"/>
    <p:sldId id="295" r:id="rId33"/>
    <p:sldId id="296" r:id="rId34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diagrams/_rels/data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microsoft.com/office/2007/relationships/hdphoto" Target="../media/hdphoto1.wdp"/><Relationship Id="rId1" Type="http://schemas.openxmlformats.org/officeDocument/2006/relationships/image" Target="../media/image12.jpeg"/></Relationships>
</file>

<file path=ppt/diagrams/_rels/data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image" Target="../media/image14.jpeg"/></Relationships>
</file>

<file path=ppt/diagrams/_rels/drawing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microsoft.com/office/2007/relationships/hdphoto" Target="../media/hdphoto1.wdp"/><Relationship Id="rId1" Type="http://schemas.openxmlformats.org/officeDocument/2006/relationships/image" Target="../media/image12.jpeg"/></Relationships>
</file>

<file path=ppt/diagrams/_rels/drawing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image" Target="../media/image1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1#6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1#7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9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0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5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6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8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9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0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7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8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9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5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Chi siamo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47784318-FBF4-47D0-A442-4F02AB70FBF9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594534BB-F749-473E-A02F-085595AA38A9}" type="presOf" srcId="{2BF37BE0-F1C9-4327-8D6B-194C8F2CF94F}" destId="{7D920113-6D83-4974-923F-4CAA40CA2FDB}" srcOrd="0" destOrd="0" presId="urn:microsoft.com/office/officeart/2008/layout/LinedList"/>
    <dgm:cxn modelId="{A67D85CB-5FE5-448C-B757-F247230F880B}" type="presParOf" srcId="{58FB0A67-F67A-40BA-890E-A840ED83B605}" destId="{AB26EC88-0333-42E8-B340-C2B4FE18384A}" srcOrd="0" destOrd="0" presId="urn:microsoft.com/office/officeart/2008/layout/LinedList"/>
    <dgm:cxn modelId="{27460047-95F1-406C-8D02-D0D49FE558CE}" type="presParOf" srcId="{58FB0A67-F67A-40BA-890E-A840ED83B605}" destId="{45792684-4DE0-4EDD-B49A-A40AB3BD4B9E}" srcOrd="1" destOrd="0" presId="urn:microsoft.com/office/officeart/2008/layout/LinedList"/>
    <dgm:cxn modelId="{20C98655-4B9E-44EC-B463-B2E91EC25702}" type="presParOf" srcId="{45792684-4DE0-4EDD-B49A-A40AB3BD4B9E}" destId="{7D920113-6D83-4974-923F-4CAA40CA2FDB}" srcOrd="0" destOrd="0" presId="urn:microsoft.com/office/officeart/2008/layout/LinedList"/>
    <dgm:cxn modelId="{E75D7C7B-C6A8-4919-BB98-B0D294314988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368F97F-F6E3-475E-B404-74D21EF24621}" type="doc">
      <dgm:prSet loTypeId="urn:microsoft.com/office/officeart/2005/8/layout/default#1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BA397AC-D747-4707-9354-5F5691AA6C69}">
      <dgm:prSet phldrT="[Testo]" custT="1"/>
      <dgm:spPr/>
      <dgm:t>
        <a:bodyPr/>
        <a:lstStyle/>
        <a:p>
          <a:r>
            <a:rPr lang="it-IT" sz="1800" dirty="0" smtClean="0"/>
            <a:t>Definizione piano di lavoro (in presenza)</a:t>
          </a:r>
        </a:p>
        <a:p>
          <a:r>
            <a:rPr lang="it-IT" sz="1800" dirty="0" smtClean="0"/>
            <a:t>8-9 maggio 2014</a:t>
          </a:r>
          <a:endParaRPr lang="it-IT" sz="1800" dirty="0"/>
        </a:p>
      </dgm:t>
    </dgm:pt>
    <dgm:pt modelId="{2DB22199-E337-49F0-A93D-FCDB1AB3A785}" type="parTrans" cxnId="{18538E5F-5097-436F-A926-EA0FD38241F9}">
      <dgm:prSet/>
      <dgm:spPr/>
      <dgm:t>
        <a:bodyPr/>
        <a:lstStyle/>
        <a:p>
          <a:endParaRPr lang="it-IT"/>
        </a:p>
      </dgm:t>
    </dgm:pt>
    <dgm:pt modelId="{35B1F1FF-6350-46D7-9389-596E1DBC77A8}" type="sibTrans" cxnId="{18538E5F-5097-436F-A926-EA0FD38241F9}">
      <dgm:prSet/>
      <dgm:spPr/>
      <dgm:t>
        <a:bodyPr/>
        <a:lstStyle/>
        <a:p>
          <a:endParaRPr lang="it-IT"/>
        </a:p>
      </dgm:t>
    </dgm:pt>
    <dgm:pt modelId="{5160F0DF-DB10-43F8-8981-C303FB3C8C07}" type="pres">
      <dgm:prSet presAssocID="{1368F97F-F6E3-475E-B404-74D21EF2462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192835D1-122D-4027-AADC-8E33108B9F24}" type="pres">
      <dgm:prSet presAssocID="{8BA397AC-D747-4707-9354-5F5691AA6C69}" presName="node" presStyleLbl="node1" presStyleIdx="0" presStyleCnt="1" custScaleX="180816" custScaleY="118846" custLinFactY="200000" custLinFactNeighborX="16910" custLinFactNeighborY="2222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2FECE6C-CA3A-4D65-B659-91EC6AA244D2}" type="presOf" srcId="{1368F97F-F6E3-475E-B404-74D21EF24621}" destId="{5160F0DF-DB10-43F8-8981-C303FB3C8C07}" srcOrd="0" destOrd="0" presId="urn:microsoft.com/office/officeart/2005/8/layout/default#1"/>
    <dgm:cxn modelId="{23FAEC62-2816-4A14-A050-35C4A3A3DEB4}" type="presOf" srcId="{8BA397AC-D747-4707-9354-5F5691AA6C69}" destId="{192835D1-122D-4027-AADC-8E33108B9F24}" srcOrd="0" destOrd="0" presId="urn:microsoft.com/office/officeart/2005/8/layout/default#1"/>
    <dgm:cxn modelId="{18538E5F-5097-436F-A926-EA0FD38241F9}" srcId="{1368F97F-F6E3-475E-B404-74D21EF24621}" destId="{8BA397AC-D747-4707-9354-5F5691AA6C69}" srcOrd="0" destOrd="0" parTransId="{2DB22199-E337-49F0-A93D-FCDB1AB3A785}" sibTransId="{35B1F1FF-6350-46D7-9389-596E1DBC77A8}"/>
    <dgm:cxn modelId="{83E1B2AB-9DB3-4FB1-A037-9D153E2F2A04}" type="presParOf" srcId="{5160F0DF-DB10-43F8-8981-C303FB3C8C07}" destId="{192835D1-122D-4027-AADC-8E33108B9F24}" srcOrd="0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3075584-0A09-4F92-A3EE-4594CC46FEDC}" type="doc">
      <dgm:prSet loTypeId="urn:microsoft.com/office/officeart/2008/layout/LinedList" loCatId="list" qsTypeId="urn:microsoft.com/office/officeart/2005/8/quickstyle/simple1#6" qsCatId="simple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4DBD1FB0-9DEC-4BF1-BDFE-C56F2660AE47}">
      <dgm:prSet custT="1"/>
      <dgm:spPr/>
      <dgm:t>
        <a:bodyPr/>
        <a:lstStyle/>
        <a:p>
          <a:pPr algn="just" rtl="0"/>
          <a:endParaRPr lang="it-IT" sz="1800" b="1" i="0" dirty="0">
            <a:solidFill>
              <a:srgbClr val="C00000"/>
            </a:solidFill>
          </a:endParaRPr>
        </a:p>
      </dgm:t>
    </dgm:pt>
    <dgm:pt modelId="{977500EF-1C8F-4ABA-A49C-70BA86BBB338}" type="par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95AA54F3-60A7-4C69-9BA0-A132406858AF}" type="sib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D7EA6325-6413-4438-83E4-6701E2C57717}" type="pres">
      <dgm:prSet presAssocID="{43075584-0A09-4F92-A3EE-4594CC46FEDC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C53CC59A-ED65-4B0D-9470-3F18E593A142}" type="pres">
      <dgm:prSet presAssocID="{4DBD1FB0-9DEC-4BF1-BDFE-C56F2660AE47}" presName="thickLine" presStyleLbl="alignNode1" presStyleIdx="0" presStyleCnt="1"/>
      <dgm:spPr/>
    </dgm:pt>
    <dgm:pt modelId="{CCBE2F35-B449-4304-A4B7-EB4A0CE90FAA}" type="pres">
      <dgm:prSet presAssocID="{4DBD1FB0-9DEC-4BF1-BDFE-C56F2660AE47}" presName="horz1" presStyleCnt="0"/>
      <dgm:spPr/>
    </dgm:pt>
    <dgm:pt modelId="{2E4F97BB-80AE-4B89-8B32-FB05A53BD028}" type="pres">
      <dgm:prSet presAssocID="{4DBD1FB0-9DEC-4BF1-BDFE-C56F2660AE47}" presName="tx1" presStyleLbl="revTx" presStyleIdx="0" presStyleCnt="1" custLinFactNeighborY="-36433"/>
      <dgm:spPr/>
      <dgm:t>
        <a:bodyPr/>
        <a:lstStyle/>
        <a:p>
          <a:endParaRPr lang="it-IT"/>
        </a:p>
      </dgm:t>
    </dgm:pt>
    <dgm:pt modelId="{D1497074-FD56-4A1D-B803-63AFF8396209}" type="pres">
      <dgm:prSet presAssocID="{4DBD1FB0-9DEC-4BF1-BDFE-C56F2660AE47}" presName="vert1" presStyleCnt="0"/>
      <dgm:spPr/>
    </dgm:pt>
  </dgm:ptLst>
  <dgm:cxnLst>
    <dgm:cxn modelId="{DA81E436-CF28-438A-BB87-9E041811E5C1}" type="presOf" srcId="{43075584-0A09-4F92-A3EE-4594CC46FEDC}" destId="{D7EA6325-6413-4438-83E4-6701E2C57717}" srcOrd="0" destOrd="0" presId="urn:microsoft.com/office/officeart/2008/layout/LinedList"/>
    <dgm:cxn modelId="{96C8A48C-C5AF-46B5-9B5D-144C81DD0D8F}" srcId="{43075584-0A09-4F92-A3EE-4594CC46FEDC}" destId="{4DBD1FB0-9DEC-4BF1-BDFE-C56F2660AE47}" srcOrd="0" destOrd="0" parTransId="{977500EF-1C8F-4ABA-A49C-70BA86BBB338}" sibTransId="{95AA54F3-60A7-4C69-9BA0-A132406858AF}"/>
    <dgm:cxn modelId="{CB73D482-E1CF-4CE8-BE1E-72BB84B00763}" type="presOf" srcId="{4DBD1FB0-9DEC-4BF1-BDFE-C56F2660AE47}" destId="{2E4F97BB-80AE-4B89-8B32-FB05A53BD028}" srcOrd="0" destOrd="0" presId="urn:microsoft.com/office/officeart/2008/layout/LinedList"/>
    <dgm:cxn modelId="{42063C93-D5C6-454F-B102-7DA02195CE90}" type="presParOf" srcId="{D7EA6325-6413-4438-83E4-6701E2C57717}" destId="{C53CC59A-ED65-4B0D-9470-3F18E593A142}" srcOrd="0" destOrd="0" presId="urn:microsoft.com/office/officeart/2008/layout/LinedList"/>
    <dgm:cxn modelId="{94EF1127-37D7-4CC0-A756-2D9B74EC9D3A}" type="presParOf" srcId="{D7EA6325-6413-4438-83E4-6701E2C57717}" destId="{CCBE2F35-B449-4304-A4B7-EB4A0CE90FAA}" srcOrd="1" destOrd="0" presId="urn:microsoft.com/office/officeart/2008/layout/LinedList"/>
    <dgm:cxn modelId="{719808C6-BF55-48C9-8D6E-AAE6A2B2D594}" type="presParOf" srcId="{CCBE2F35-B449-4304-A4B7-EB4A0CE90FAA}" destId="{2E4F97BB-80AE-4B89-8B32-FB05A53BD028}" srcOrd="0" destOrd="0" presId="urn:microsoft.com/office/officeart/2008/layout/LinedList"/>
    <dgm:cxn modelId="{856E749B-00BA-4632-967C-1EE5A99355DC}" type="presParOf" srcId="{CCBE2F35-B449-4304-A4B7-EB4A0CE90FAA}" destId="{D1497074-FD56-4A1D-B803-63AFF839620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4239B68A-E7D9-43EB-BAA7-51C73576A697}" type="doc">
      <dgm:prSet loTypeId="urn:microsoft.com/office/officeart/2005/8/layout/cycle5" loCatId="cycle" qsTypeId="urn:microsoft.com/office/officeart/2005/8/quickstyle/3d6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753D6FF9-76BD-4BDE-B1E8-B27436EA941F}">
      <dgm:prSet phldrT="[Testo]"/>
      <dgm:spPr/>
      <dgm:t>
        <a:bodyPr/>
        <a:lstStyle/>
        <a:p>
          <a:r>
            <a:rPr lang="it-IT" dirty="0" smtClean="0"/>
            <a:t>Biotecnologie</a:t>
          </a:r>
          <a:endParaRPr lang="it-IT" dirty="0"/>
        </a:p>
      </dgm:t>
    </dgm:pt>
    <dgm:pt modelId="{4F8365F4-CA84-4B9A-AE88-7AD472ACAF3E}" type="parTrans" cxnId="{7BB8DB9A-99B6-453C-AA92-C3C9A5178C62}">
      <dgm:prSet/>
      <dgm:spPr/>
      <dgm:t>
        <a:bodyPr/>
        <a:lstStyle/>
        <a:p>
          <a:endParaRPr lang="it-IT"/>
        </a:p>
      </dgm:t>
    </dgm:pt>
    <dgm:pt modelId="{4F583956-5842-4C16-A2FF-C254E27A6615}" type="sibTrans" cxnId="{7BB8DB9A-99B6-453C-AA92-C3C9A5178C62}">
      <dgm:prSet/>
      <dgm:spPr/>
      <dgm:t>
        <a:bodyPr/>
        <a:lstStyle/>
        <a:p>
          <a:endParaRPr lang="it-IT"/>
        </a:p>
      </dgm:t>
    </dgm:pt>
    <dgm:pt modelId="{1C97B484-D592-434B-955F-0238DFAA925A}">
      <dgm:prSet phldrT="[Testo]"/>
      <dgm:spPr/>
      <dgm:t>
        <a:bodyPr/>
        <a:lstStyle/>
        <a:p>
          <a:r>
            <a:rPr lang="it-IT" dirty="0" smtClean="0"/>
            <a:t>ICT</a:t>
          </a:r>
          <a:endParaRPr lang="it-IT" dirty="0"/>
        </a:p>
      </dgm:t>
    </dgm:pt>
    <dgm:pt modelId="{084A2D3D-59DB-4A53-B4DB-369D548646BB}" type="parTrans" cxnId="{78D47852-4458-49D5-AC4D-6FFDD42A9D42}">
      <dgm:prSet/>
      <dgm:spPr/>
      <dgm:t>
        <a:bodyPr/>
        <a:lstStyle/>
        <a:p>
          <a:endParaRPr lang="it-IT"/>
        </a:p>
      </dgm:t>
    </dgm:pt>
    <dgm:pt modelId="{5F8ED8F5-61FB-4E9E-8D3B-64F5C0BD87FF}" type="sibTrans" cxnId="{78D47852-4458-49D5-AC4D-6FFDD42A9D42}">
      <dgm:prSet/>
      <dgm:spPr/>
      <dgm:t>
        <a:bodyPr/>
        <a:lstStyle/>
        <a:p>
          <a:endParaRPr lang="it-IT"/>
        </a:p>
      </dgm:t>
    </dgm:pt>
    <dgm:pt modelId="{88BD0557-199F-4C4D-9088-B630DF809B31}">
      <dgm:prSet phldrT="[Testo]"/>
      <dgm:spPr/>
      <dgm:t>
        <a:bodyPr/>
        <a:lstStyle/>
        <a:p>
          <a:r>
            <a:rPr lang="it-IT" dirty="0" smtClean="0"/>
            <a:t>Innovazione sociale</a:t>
          </a:r>
          <a:endParaRPr lang="it-IT" dirty="0"/>
        </a:p>
      </dgm:t>
    </dgm:pt>
    <dgm:pt modelId="{B2FAA026-9610-40B8-B07C-C4424E290CE7}" type="parTrans" cxnId="{631012E5-0F48-4C31-9834-0B0DC34C1F89}">
      <dgm:prSet/>
      <dgm:spPr/>
      <dgm:t>
        <a:bodyPr/>
        <a:lstStyle/>
        <a:p>
          <a:endParaRPr lang="it-IT"/>
        </a:p>
      </dgm:t>
    </dgm:pt>
    <dgm:pt modelId="{E1B5CD9D-5FC2-4D5F-ADA3-1101548FFF78}" type="sibTrans" cxnId="{631012E5-0F48-4C31-9834-0B0DC34C1F89}">
      <dgm:prSet/>
      <dgm:spPr/>
      <dgm:t>
        <a:bodyPr/>
        <a:lstStyle/>
        <a:p>
          <a:endParaRPr lang="it-IT"/>
        </a:p>
      </dgm:t>
    </dgm:pt>
    <dgm:pt modelId="{4AAD710B-73A7-40D0-BE45-F970671007FE}">
      <dgm:prSet phldrT="[Testo]"/>
      <dgm:spPr/>
      <dgm:t>
        <a:bodyPr/>
        <a:lstStyle/>
        <a:p>
          <a:r>
            <a:rPr lang="it-IT" dirty="0" smtClean="0"/>
            <a:t>Micro elettronica</a:t>
          </a:r>
          <a:endParaRPr lang="it-IT" dirty="0"/>
        </a:p>
      </dgm:t>
    </dgm:pt>
    <dgm:pt modelId="{4DE9D59B-4DE5-4044-B26D-1FEB59A44792}" type="parTrans" cxnId="{7A532FA1-B9A9-47E1-A04D-122ED612F025}">
      <dgm:prSet/>
      <dgm:spPr/>
      <dgm:t>
        <a:bodyPr/>
        <a:lstStyle/>
        <a:p>
          <a:endParaRPr lang="it-IT"/>
        </a:p>
      </dgm:t>
    </dgm:pt>
    <dgm:pt modelId="{09849086-A42A-488F-B9A2-5CBD4130A55E}" type="sibTrans" cxnId="{7A532FA1-B9A9-47E1-A04D-122ED612F025}">
      <dgm:prSet/>
      <dgm:spPr/>
      <dgm:t>
        <a:bodyPr/>
        <a:lstStyle/>
        <a:p>
          <a:endParaRPr lang="it-IT"/>
        </a:p>
      </dgm:t>
    </dgm:pt>
    <dgm:pt modelId="{689482D7-7DAA-4515-AD7B-9F3993164284}" type="pres">
      <dgm:prSet presAssocID="{4239B68A-E7D9-43EB-BAA7-51C73576A697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3434D6D-2122-4A51-877E-06D18981102B}" type="pres">
      <dgm:prSet presAssocID="{753D6FF9-76BD-4BDE-B1E8-B27436EA941F}" presName="node" presStyleLbl="node1" presStyleIdx="0" presStyleCnt="4" custScaleY="28924" custRadScaleRad="129263" custRadScaleInc="106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CD83FF9-1CA1-4F89-AC4B-CE683910458D}" type="pres">
      <dgm:prSet presAssocID="{753D6FF9-76BD-4BDE-B1E8-B27436EA941F}" presName="spNode" presStyleCnt="0"/>
      <dgm:spPr/>
    </dgm:pt>
    <dgm:pt modelId="{B48349C0-DA42-45C1-A305-A31ACB3E56FA}" type="pres">
      <dgm:prSet presAssocID="{4F583956-5842-4C16-A2FF-C254E27A6615}" presName="sibTrans" presStyleLbl="sibTrans1D1" presStyleIdx="0" presStyleCnt="4"/>
      <dgm:spPr/>
      <dgm:t>
        <a:bodyPr/>
        <a:lstStyle/>
        <a:p>
          <a:endParaRPr lang="it-IT"/>
        </a:p>
      </dgm:t>
    </dgm:pt>
    <dgm:pt modelId="{6AC538DC-7B9C-4F13-B5F1-2B31B455CDEC}" type="pres">
      <dgm:prSet presAssocID="{1C97B484-D592-434B-955F-0238DFAA925A}" presName="node" presStyleLbl="node1" presStyleIdx="1" presStyleCnt="4" custScaleX="45363" custScaleY="56945" custRadScaleRad="173156" custRadScaleInc="-1171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64BDEC8-8531-4C4B-B0E2-47A247213CC0}" type="pres">
      <dgm:prSet presAssocID="{1C97B484-D592-434B-955F-0238DFAA925A}" presName="spNode" presStyleCnt="0"/>
      <dgm:spPr/>
    </dgm:pt>
    <dgm:pt modelId="{C398BA1F-BFAB-4EDA-A553-016DA6A23E7D}" type="pres">
      <dgm:prSet presAssocID="{5F8ED8F5-61FB-4E9E-8D3B-64F5C0BD87FF}" presName="sibTrans" presStyleLbl="sibTrans1D1" presStyleIdx="1" presStyleCnt="4"/>
      <dgm:spPr/>
      <dgm:t>
        <a:bodyPr/>
        <a:lstStyle/>
        <a:p>
          <a:endParaRPr lang="it-IT"/>
        </a:p>
      </dgm:t>
    </dgm:pt>
    <dgm:pt modelId="{4D6D01E9-C592-4F2E-AB82-072A02D0A479}" type="pres">
      <dgm:prSet presAssocID="{88BD0557-199F-4C4D-9088-B630DF809B31}" presName="node" presStyleLbl="node1" presStyleIdx="2" presStyleCnt="4" custScaleY="44456" custRadScaleRad="125265" custRadScaleInc="-109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1E9116D-C771-4573-AA29-3BFB9CD852EB}" type="pres">
      <dgm:prSet presAssocID="{88BD0557-199F-4C4D-9088-B630DF809B31}" presName="spNode" presStyleCnt="0"/>
      <dgm:spPr/>
    </dgm:pt>
    <dgm:pt modelId="{F7BAADD9-C75B-4898-B52D-48E4B788C62A}" type="pres">
      <dgm:prSet presAssocID="{E1B5CD9D-5FC2-4D5F-ADA3-1101548FFF78}" presName="sibTrans" presStyleLbl="sibTrans1D1" presStyleIdx="2" presStyleCnt="4"/>
      <dgm:spPr/>
      <dgm:t>
        <a:bodyPr/>
        <a:lstStyle/>
        <a:p>
          <a:endParaRPr lang="it-IT"/>
        </a:p>
      </dgm:t>
    </dgm:pt>
    <dgm:pt modelId="{7086B33B-544F-4FEE-A7F7-198130F517DF}" type="pres">
      <dgm:prSet presAssocID="{4AAD710B-73A7-40D0-BE45-F970671007FE}" presName="node" presStyleLbl="node1" presStyleIdx="3" presStyleCnt="4" custScaleX="51388" custRadScaleRad="164999" custRadScaleInc="-280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24447C4-B12D-4D00-AC95-AC1A1D8A80BC}" type="pres">
      <dgm:prSet presAssocID="{4AAD710B-73A7-40D0-BE45-F970671007FE}" presName="spNode" presStyleCnt="0"/>
      <dgm:spPr/>
    </dgm:pt>
    <dgm:pt modelId="{00526382-6092-453E-9B7B-82B351DD0AD1}" type="pres">
      <dgm:prSet presAssocID="{09849086-A42A-488F-B9A2-5CBD4130A55E}" presName="sibTrans" presStyleLbl="sibTrans1D1" presStyleIdx="3" presStyleCnt="4"/>
      <dgm:spPr/>
      <dgm:t>
        <a:bodyPr/>
        <a:lstStyle/>
        <a:p>
          <a:endParaRPr lang="it-IT"/>
        </a:p>
      </dgm:t>
    </dgm:pt>
  </dgm:ptLst>
  <dgm:cxnLst>
    <dgm:cxn modelId="{AF2E8BD0-42BA-4271-BEED-69541FEC7986}" type="presOf" srcId="{88BD0557-199F-4C4D-9088-B630DF809B31}" destId="{4D6D01E9-C592-4F2E-AB82-072A02D0A479}" srcOrd="0" destOrd="0" presId="urn:microsoft.com/office/officeart/2005/8/layout/cycle5"/>
    <dgm:cxn modelId="{A3AB0EE0-3E0E-4C46-8178-98952D5AAEBE}" type="presOf" srcId="{4AAD710B-73A7-40D0-BE45-F970671007FE}" destId="{7086B33B-544F-4FEE-A7F7-198130F517DF}" srcOrd="0" destOrd="0" presId="urn:microsoft.com/office/officeart/2005/8/layout/cycle5"/>
    <dgm:cxn modelId="{9A91FF99-2815-45A6-99BF-12A8AF0E899F}" type="presOf" srcId="{753D6FF9-76BD-4BDE-B1E8-B27436EA941F}" destId="{B3434D6D-2122-4A51-877E-06D18981102B}" srcOrd="0" destOrd="0" presId="urn:microsoft.com/office/officeart/2005/8/layout/cycle5"/>
    <dgm:cxn modelId="{60B0DEE6-8662-4DA7-98DA-55F02BFCFD5E}" type="presOf" srcId="{09849086-A42A-488F-B9A2-5CBD4130A55E}" destId="{00526382-6092-453E-9B7B-82B351DD0AD1}" srcOrd="0" destOrd="0" presId="urn:microsoft.com/office/officeart/2005/8/layout/cycle5"/>
    <dgm:cxn modelId="{968321A4-D521-40D9-87B3-C2D8057E5D32}" type="presOf" srcId="{5F8ED8F5-61FB-4E9E-8D3B-64F5C0BD87FF}" destId="{C398BA1F-BFAB-4EDA-A553-016DA6A23E7D}" srcOrd="0" destOrd="0" presId="urn:microsoft.com/office/officeart/2005/8/layout/cycle5"/>
    <dgm:cxn modelId="{631012E5-0F48-4C31-9834-0B0DC34C1F89}" srcId="{4239B68A-E7D9-43EB-BAA7-51C73576A697}" destId="{88BD0557-199F-4C4D-9088-B630DF809B31}" srcOrd="2" destOrd="0" parTransId="{B2FAA026-9610-40B8-B07C-C4424E290CE7}" sibTransId="{E1B5CD9D-5FC2-4D5F-ADA3-1101548FFF78}"/>
    <dgm:cxn modelId="{7A532FA1-B9A9-47E1-A04D-122ED612F025}" srcId="{4239B68A-E7D9-43EB-BAA7-51C73576A697}" destId="{4AAD710B-73A7-40D0-BE45-F970671007FE}" srcOrd="3" destOrd="0" parTransId="{4DE9D59B-4DE5-4044-B26D-1FEB59A44792}" sibTransId="{09849086-A42A-488F-B9A2-5CBD4130A55E}"/>
    <dgm:cxn modelId="{7BB8DB9A-99B6-453C-AA92-C3C9A5178C62}" srcId="{4239B68A-E7D9-43EB-BAA7-51C73576A697}" destId="{753D6FF9-76BD-4BDE-B1E8-B27436EA941F}" srcOrd="0" destOrd="0" parTransId="{4F8365F4-CA84-4B9A-AE88-7AD472ACAF3E}" sibTransId="{4F583956-5842-4C16-A2FF-C254E27A6615}"/>
    <dgm:cxn modelId="{912FA14D-0DB3-4DD2-A01D-ABD1A5856441}" type="presOf" srcId="{4F583956-5842-4C16-A2FF-C254E27A6615}" destId="{B48349C0-DA42-45C1-A305-A31ACB3E56FA}" srcOrd="0" destOrd="0" presId="urn:microsoft.com/office/officeart/2005/8/layout/cycle5"/>
    <dgm:cxn modelId="{78D47852-4458-49D5-AC4D-6FFDD42A9D42}" srcId="{4239B68A-E7D9-43EB-BAA7-51C73576A697}" destId="{1C97B484-D592-434B-955F-0238DFAA925A}" srcOrd="1" destOrd="0" parTransId="{084A2D3D-59DB-4A53-B4DB-369D548646BB}" sibTransId="{5F8ED8F5-61FB-4E9E-8D3B-64F5C0BD87FF}"/>
    <dgm:cxn modelId="{AA01DB69-0888-489A-AFF6-8F6DC90B62DD}" type="presOf" srcId="{E1B5CD9D-5FC2-4D5F-ADA3-1101548FFF78}" destId="{F7BAADD9-C75B-4898-B52D-48E4B788C62A}" srcOrd="0" destOrd="0" presId="urn:microsoft.com/office/officeart/2005/8/layout/cycle5"/>
    <dgm:cxn modelId="{1B652FC9-F15A-4E14-8700-30C86AA8E68C}" type="presOf" srcId="{4239B68A-E7D9-43EB-BAA7-51C73576A697}" destId="{689482D7-7DAA-4515-AD7B-9F3993164284}" srcOrd="0" destOrd="0" presId="urn:microsoft.com/office/officeart/2005/8/layout/cycle5"/>
    <dgm:cxn modelId="{E2DD2FF0-C113-4F75-BA20-C27EA2FE8C79}" type="presOf" srcId="{1C97B484-D592-434B-955F-0238DFAA925A}" destId="{6AC538DC-7B9C-4F13-B5F1-2B31B455CDEC}" srcOrd="0" destOrd="0" presId="urn:microsoft.com/office/officeart/2005/8/layout/cycle5"/>
    <dgm:cxn modelId="{91EB1456-2F35-4C5E-B71D-06C5394B3DC2}" type="presParOf" srcId="{689482D7-7DAA-4515-AD7B-9F3993164284}" destId="{B3434D6D-2122-4A51-877E-06D18981102B}" srcOrd="0" destOrd="0" presId="urn:microsoft.com/office/officeart/2005/8/layout/cycle5"/>
    <dgm:cxn modelId="{393F26D7-34A0-4A69-8BE6-ABA1BB04BAD8}" type="presParOf" srcId="{689482D7-7DAA-4515-AD7B-9F3993164284}" destId="{4CD83FF9-1CA1-4F89-AC4B-CE683910458D}" srcOrd="1" destOrd="0" presId="urn:microsoft.com/office/officeart/2005/8/layout/cycle5"/>
    <dgm:cxn modelId="{26EF891C-3D1C-4848-8EE1-5BAB43B481CF}" type="presParOf" srcId="{689482D7-7DAA-4515-AD7B-9F3993164284}" destId="{B48349C0-DA42-45C1-A305-A31ACB3E56FA}" srcOrd="2" destOrd="0" presId="urn:microsoft.com/office/officeart/2005/8/layout/cycle5"/>
    <dgm:cxn modelId="{5D76C924-EAF6-4967-9B81-D279A7C6244E}" type="presParOf" srcId="{689482D7-7DAA-4515-AD7B-9F3993164284}" destId="{6AC538DC-7B9C-4F13-B5F1-2B31B455CDEC}" srcOrd="3" destOrd="0" presId="urn:microsoft.com/office/officeart/2005/8/layout/cycle5"/>
    <dgm:cxn modelId="{B3FA6855-6501-48A0-9136-DD7228225192}" type="presParOf" srcId="{689482D7-7DAA-4515-AD7B-9F3993164284}" destId="{764BDEC8-8531-4C4B-B0E2-47A247213CC0}" srcOrd="4" destOrd="0" presId="urn:microsoft.com/office/officeart/2005/8/layout/cycle5"/>
    <dgm:cxn modelId="{FD215CF1-10E7-48C3-A5AF-26BF7321362A}" type="presParOf" srcId="{689482D7-7DAA-4515-AD7B-9F3993164284}" destId="{C398BA1F-BFAB-4EDA-A553-016DA6A23E7D}" srcOrd="5" destOrd="0" presId="urn:microsoft.com/office/officeart/2005/8/layout/cycle5"/>
    <dgm:cxn modelId="{8D23A290-4F33-4D6B-A42A-12F06F30668C}" type="presParOf" srcId="{689482D7-7DAA-4515-AD7B-9F3993164284}" destId="{4D6D01E9-C592-4F2E-AB82-072A02D0A479}" srcOrd="6" destOrd="0" presId="urn:microsoft.com/office/officeart/2005/8/layout/cycle5"/>
    <dgm:cxn modelId="{E23DC284-238D-42FE-93E1-8F9832383DD8}" type="presParOf" srcId="{689482D7-7DAA-4515-AD7B-9F3993164284}" destId="{01E9116D-C771-4573-AA29-3BFB9CD852EB}" srcOrd="7" destOrd="0" presId="urn:microsoft.com/office/officeart/2005/8/layout/cycle5"/>
    <dgm:cxn modelId="{A727B81E-B8D5-4FC3-8D12-450D22FB7701}" type="presParOf" srcId="{689482D7-7DAA-4515-AD7B-9F3993164284}" destId="{F7BAADD9-C75B-4898-B52D-48E4B788C62A}" srcOrd="8" destOrd="0" presId="urn:microsoft.com/office/officeart/2005/8/layout/cycle5"/>
    <dgm:cxn modelId="{BA987EC5-9245-4D59-A549-DB44988478C2}" type="presParOf" srcId="{689482D7-7DAA-4515-AD7B-9F3993164284}" destId="{7086B33B-544F-4FEE-A7F7-198130F517DF}" srcOrd="9" destOrd="0" presId="urn:microsoft.com/office/officeart/2005/8/layout/cycle5"/>
    <dgm:cxn modelId="{EFE2D156-A180-467B-9D1C-510C8CE53429}" type="presParOf" srcId="{689482D7-7DAA-4515-AD7B-9F3993164284}" destId="{724447C4-B12D-4D00-AC95-AC1A1D8A80BC}" srcOrd="10" destOrd="0" presId="urn:microsoft.com/office/officeart/2005/8/layout/cycle5"/>
    <dgm:cxn modelId="{9EF434D3-3D77-467A-A0F5-AFFE160D5398}" type="presParOf" srcId="{689482D7-7DAA-4515-AD7B-9F3993164284}" destId="{00526382-6092-453E-9B7B-82B351DD0AD1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Modalità di lavoro (3)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FE9CBD19-6AE1-4990-8ABD-D1A4F4E8C12B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7BA9D499-8190-4C6A-BE0E-3784BFFACF20}" type="presOf" srcId="{2BF37BE0-F1C9-4327-8D6B-194C8F2CF94F}" destId="{7D920113-6D83-4974-923F-4CAA40CA2FDB}" srcOrd="0" destOrd="0" presId="urn:microsoft.com/office/officeart/2008/layout/LinedList"/>
    <dgm:cxn modelId="{C06C40CF-F5D0-4B93-BEAC-036A18AEA0CC}" type="presParOf" srcId="{58FB0A67-F67A-40BA-890E-A840ED83B605}" destId="{AB26EC88-0333-42E8-B340-C2B4FE18384A}" srcOrd="0" destOrd="0" presId="urn:microsoft.com/office/officeart/2008/layout/LinedList"/>
    <dgm:cxn modelId="{DE42C8B5-0228-4960-8A47-F7CB10DF4BA0}" type="presParOf" srcId="{58FB0A67-F67A-40BA-890E-A840ED83B605}" destId="{45792684-4DE0-4EDD-B49A-A40AB3BD4B9E}" srcOrd="1" destOrd="0" presId="urn:microsoft.com/office/officeart/2008/layout/LinedList"/>
    <dgm:cxn modelId="{D599B334-1292-4186-94EC-95CE549B1EB3}" type="presParOf" srcId="{45792684-4DE0-4EDD-B49A-A40AB3BD4B9E}" destId="{7D920113-6D83-4974-923F-4CAA40CA2FDB}" srcOrd="0" destOrd="0" presId="urn:microsoft.com/office/officeart/2008/layout/LinedList"/>
    <dgm:cxn modelId="{33589FEE-9506-413B-8BDB-A9843F28908F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4400" b="1" dirty="0" smtClean="0"/>
            <a:t>Le regole del confronto</a:t>
          </a:r>
          <a:endParaRPr lang="it-IT" sz="4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Attenzione ai tempi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D446E03B-A085-4EAF-A9D7-21D9E631073A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Comprendere come lavorare più che discutere del merito</a:t>
          </a:r>
          <a:endParaRPr lang="it-IT" sz="3600" b="0" dirty="0">
            <a:solidFill>
              <a:schemeClr val="accent1"/>
            </a:solidFill>
          </a:endParaRPr>
        </a:p>
      </dgm:t>
    </dgm:pt>
    <dgm:pt modelId="{44FDFF5D-A5FE-4F6B-89B8-1FCC632B967C}" type="parTrans" cxnId="{BB9A4BB3-9E3F-4768-AB03-3A5823740DAC}">
      <dgm:prSet/>
      <dgm:spPr/>
      <dgm:t>
        <a:bodyPr/>
        <a:lstStyle/>
        <a:p>
          <a:endParaRPr lang="it-IT"/>
        </a:p>
      </dgm:t>
    </dgm:pt>
    <dgm:pt modelId="{A44EEB28-BFA3-4413-89F9-8106007D5EF7}" type="sibTrans" cxnId="{BB9A4BB3-9E3F-4768-AB03-3A5823740DAC}">
      <dgm:prSet/>
      <dgm:spPr/>
      <dgm:t>
        <a:bodyPr/>
        <a:lstStyle/>
        <a:p>
          <a:endParaRPr lang="it-IT"/>
        </a:p>
      </dgm:t>
    </dgm:pt>
    <dgm:pt modelId="{E8668022-B4E6-4F7B-85CE-7DF06B5D0EF9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Non sovrapporsi</a:t>
          </a:r>
          <a:endParaRPr lang="it-IT" sz="3600" b="0" dirty="0">
            <a:solidFill>
              <a:schemeClr val="accent1"/>
            </a:solidFill>
          </a:endParaRPr>
        </a:p>
      </dgm:t>
    </dgm:pt>
    <dgm:pt modelId="{A639F380-D1ED-4F16-8273-CE710AF2722F}" type="parTrans" cxnId="{4F66322D-4FDF-40A2-A1A4-85106B7D7A69}">
      <dgm:prSet/>
      <dgm:spPr/>
      <dgm:t>
        <a:bodyPr/>
        <a:lstStyle/>
        <a:p>
          <a:endParaRPr lang="it-IT"/>
        </a:p>
      </dgm:t>
    </dgm:pt>
    <dgm:pt modelId="{40FDD981-82C7-442B-82DA-BB0875708F5C}" type="sibTrans" cxnId="{4F66322D-4FDF-40A2-A1A4-85106B7D7A69}">
      <dgm:prSet/>
      <dgm:spPr/>
      <dgm:t>
        <a:bodyPr/>
        <a:lstStyle/>
        <a:p>
          <a:endParaRPr lang="it-IT"/>
        </a:p>
      </dgm:t>
    </dgm:pt>
    <dgm:pt modelId="{67755247-ABB2-430C-86D0-520F5484A17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Non ripetersi</a:t>
          </a:r>
          <a:endParaRPr lang="it-IT" sz="3600" b="0" dirty="0">
            <a:solidFill>
              <a:schemeClr val="accent1"/>
            </a:solidFill>
          </a:endParaRPr>
        </a:p>
      </dgm:t>
    </dgm:pt>
    <dgm:pt modelId="{F0DE52B4-7B54-424F-BF46-2F68B78BEC45}" type="parTrans" cxnId="{7CBA6189-3D05-4562-9426-327B4B6D8B85}">
      <dgm:prSet/>
      <dgm:spPr/>
      <dgm:t>
        <a:bodyPr/>
        <a:lstStyle/>
        <a:p>
          <a:endParaRPr lang="it-IT"/>
        </a:p>
      </dgm:t>
    </dgm:pt>
    <dgm:pt modelId="{9A459189-03A5-4FD4-8CCB-3CBA045D52A5}" type="sibTrans" cxnId="{7CBA6189-3D05-4562-9426-327B4B6D8B85}">
      <dgm:prSet/>
      <dgm:spPr/>
      <dgm:t>
        <a:bodyPr/>
        <a:lstStyle/>
        <a:p>
          <a:endParaRPr lang="it-IT"/>
        </a:p>
      </dgm:t>
    </dgm:pt>
    <dgm:pt modelId="{2DAC4A08-F0EC-4141-95E1-0391DF513F7A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Stare sul tema</a:t>
          </a:r>
          <a:endParaRPr lang="it-IT" sz="3600" b="0" dirty="0">
            <a:solidFill>
              <a:schemeClr val="accent1"/>
            </a:solidFill>
          </a:endParaRPr>
        </a:p>
      </dgm:t>
    </dgm:pt>
    <dgm:pt modelId="{A9695659-22B7-482D-BD64-EA1338119F99}" type="parTrans" cxnId="{D8D973D0-8A60-46F1-9010-AECD87605A11}">
      <dgm:prSet/>
      <dgm:spPr/>
      <dgm:t>
        <a:bodyPr/>
        <a:lstStyle/>
        <a:p>
          <a:endParaRPr lang="it-IT"/>
        </a:p>
      </dgm:t>
    </dgm:pt>
    <dgm:pt modelId="{15D2AB5A-6349-4135-A7E2-60885CE2D866}" type="sibTrans" cxnId="{D8D973D0-8A60-46F1-9010-AECD87605A11}">
      <dgm:prSet/>
      <dgm:spPr/>
      <dgm:t>
        <a:bodyPr/>
        <a:lstStyle/>
        <a:p>
          <a:endParaRPr lang="it-IT"/>
        </a:p>
      </dgm:t>
    </dgm:pt>
    <dgm:pt modelId="{074A061E-7550-4B1C-A8F0-C013B8C23025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Interventi operativi (escluse premesse)</a:t>
          </a:r>
          <a:endParaRPr lang="it-IT" sz="3600" b="0" dirty="0">
            <a:solidFill>
              <a:schemeClr val="accent1"/>
            </a:solidFill>
          </a:endParaRPr>
        </a:p>
      </dgm:t>
    </dgm:pt>
    <dgm:pt modelId="{FE88A37D-095A-4F77-B5B2-0272391C24A5}" type="parTrans" cxnId="{90B43B46-40BE-4C6A-8D18-E33CA9BF4820}">
      <dgm:prSet/>
      <dgm:spPr/>
      <dgm:t>
        <a:bodyPr/>
        <a:lstStyle/>
        <a:p>
          <a:endParaRPr lang="it-IT"/>
        </a:p>
      </dgm:t>
    </dgm:pt>
    <dgm:pt modelId="{498B8DC2-9EC5-47E6-BCD5-C4052AF11EC1}" type="sibTrans" cxnId="{90B43B46-40BE-4C6A-8D18-E33CA9BF4820}">
      <dgm:prSet/>
      <dgm:spPr/>
      <dgm:t>
        <a:bodyPr/>
        <a:lstStyle/>
        <a:p>
          <a:endParaRPr lang="it-IT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ScaleY="125122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4883FF2-616F-46D6-B331-FD1733313DCE}" type="presOf" srcId="{67755247-ABB2-430C-86D0-520F5484A172}" destId="{19C3370D-7B6A-4F3C-8C78-C38DF1D2FA31}" srcOrd="0" destOrd="5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4F66322D-4FDF-40A2-A1A4-85106B7D7A69}" srcId="{F23A2E33-A7A9-4C0C-9E2D-FE9B09B27B0C}" destId="{E8668022-B4E6-4F7B-85CE-7DF06B5D0EF9}" srcOrd="4" destOrd="0" parTransId="{A639F380-D1ED-4F16-8273-CE710AF2722F}" sibTransId="{40FDD981-82C7-442B-82DA-BB0875708F5C}"/>
    <dgm:cxn modelId="{D8D973D0-8A60-46F1-9010-AECD87605A11}" srcId="{F23A2E33-A7A9-4C0C-9E2D-FE9B09B27B0C}" destId="{2DAC4A08-F0EC-4141-95E1-0391DF513F7A}" srcOrd="2" destOrd="0" parTransId="{A9695659-22B7-482D-BD64-EA1338119F99}" sibTransId="{15D2AB5A-6349-4135-A7E2-60885CE2D866}"/>
    <dgm:cxn modelId="{290D40CA-99FE-46AD-9DCA-9472FC9FDEE6}" type="presOf" srcId="{074A061E-7550-4B1C-A8F0-C013B8C23025}" destId="{19C3370D-7B6A-4F3C-8C78-C38DF1D2FA31}" srcOrd="0" destOrd="3" presId="urn:microsoft.com/office/officeart/2005/8/layout/vList5"/>
    <dgm:cxn modelId="{D4872C0D-92D9-484A-AB01-C898FE318ACE}" type="presOf" srcId="{D446E03B-A085-4EAF-A9D7-21D9E631073A}" destId="{19C3370D-7B6A-4F3C-8C78-C38DF1D2FA31}" srcOrd="0" destOrd="1" presId="urn:microsoft.com/office/officeart/2005/8/layout/vList5"/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5E383774-FF2F-4BC0-91BF-2083EA1AAA9B}" type="presOf" srcId="{F23A2E33-A7A9-4C0C-9E2D-FE9B09B27B0C}" destId="{4B75031E-EAE2-44AE-A204-79AAE3CD8BF2}" srcOrd="0" destOrd="0" presId="urn:microsoft.com/office/officeart/2005/8/layout/vList5"/>
    <dgm:cxn modelId="{29EC1CA7-430B-4DEA-A175-2587AFFC9DD2}" type="presOf" srcId="{FA935D20-D649-4F38-A41B-69E90530D632}" destId="{19C3370D-7B6A-4F3C-8C78-C38DF1D2FA31}" srcOrd="0" destOrd="0" presId="urn:microsoft.com/office/officeart/2005/8/layout/vList5"/>
    <dgm:cxn modelId="{90B43B46-40BE-4C6A-8D18-E33CA9BF4820}" srcId="{F23A2E33-A7A9-4C0C-9E2D-FE9B09B27B0C}" destId="{074A061E-7550-4B1C-A8F0-C013B8C23025}" srcOrd="3" destOrd="0" parTransId="{FE88A37D-095A-4F77-B5B2-0272391C24A5}" sibTransId="{498B8DC2-9EC5-47E6-BCD5-C4052AF11EC1}"/>
    <dgm:cxn modelId="{427DCC6B-5B89-4467-9926-829BAD9B7187}" type="presOf" srcId="{E8668022-B4E6-4F7B-85CE-7DF06B5D0EF9}" destId="{19C3370D-7B6A-4F3C-8C78-C38DF1D2FA31}" srcOrd="0" destOrd="4" presId="urn:microsoft.com/office/officeart/2005/8/layout/vList5"/>
    <dgm:cxn modelId="{7BCC434F-E091-4702-BF46-A2B8A6A6B527}" type="presOf" srcId="{BE3B8733-AE13-4A7B-A32B-B74DE4C528D7}" destId="{67CAF0F0-11C7-41D4-B458-17DD1ACC65D7}" srcOrd="0" destOrd="0" presId="urn:microsoft.com/office/officeart/2005/8/layout/vList5"/>
    <dgm:cxn modelId="{7CBA6189-3D05-4562-9426-327B4B6D8B85}" srcId="{F23A2E33-A7A9-4C0C-9E2D-FE9B09B27B0C}" destId="{67755247-ABB2-430C-86D0-520F5484A172}" srcOrd="5" destOrd="0" parTransId="{F0DE52B4-7B54-424F-BF46-2F68B78BEC45}" sibTransId="{9A459189-03A5-4FD4-8CCB-3CBA045D52A5}"/>
    <dgm:cxn modelId="{CD12B3C8-5751-4A20-9547-156871B299F9}" type="presOf" srcId="{2DAC4A08-F0EC-4141-95E1-0391DF513F7A}" destId="{19C3370D-7B6A-4F3C-8C78-C38DF1D2FA31}" srcOrd="0" destOrd="2" presId="urn:microsoft.com/office/officeart/2005/8/layout/vList5"/>
    <dgm:cxn modelId="{BB9A4BB3-9E3F-4768-AB03-3A5823740DAC}" srcId="{F23A2E33-A7A9-4C0C-9E2D-FE9B09B27B0C}" destId="{D446E03B-A085-4EAF-A9D7-21D9E631073A}" srcOrd="1" destOrd="0" parTransId="{44FDFF5D-A5FE-4F6B-89B8-1FCC632B967C}" sibTransId="{A44EEB28-BFA3-4413-89F9-8106007D5EF7}"/>
    <dgm:cxn modelId="{0A5A24A5-471F-4E20-A201-BFCDD9001B20}" type="presParOf" srcId="{67CAF0F0-11C7-41D4-B458-17DD1ACC65D7}" destId="{91EF4C2B-0965-4D66-A48D-ECB7ACAE5C2D}" srcOrd="0" destOrd="0" presId="urn:microsoft.com/office/officeart/2005/8/layout/vList5"/>
    <dgm:cxn modelId="{BA4B0218-FF49-4F4E-B6C8-AEB65F3B4774}" type="presParOf" srcId="{91EF4C2B-0965-4D66-A48D-ECB7ACAE5C2D}" destId="{4B75031E-EAE2-44AE-A204-79AAE3CD8BF2}" srcOrd="0" destOrd="0" presId="urn:microsoft.com/office/officeart/2005/8/layout/vList5"/>
    <dgm:cxn modelId="{769FF82D-FC12-4A02-AC5F-862195B11F68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Modalità di lavoro (4)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BD77044D-564D-44D1-8CBE-A96D38677F74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0A6974B6-B345-4C7B-B032-8B3A95E939DF}" type="presOf" srcId="{2BF37BE0-F1C9-4327-8D6B-194C8F2CF94F}" destId="{7D920113-6D83-4974-923F-4CAA40CA2FDB}" srcOrd="0" destOrd="0" presId="urn:microsoft.com/office/officeart/2008/layout/LinedList"/>
    <dgm:cxn modelId="{3AEBB5E7-2954-43CC-AEF2-85B5014A22A0}" type="presParOf" srcId="{58FB0A67-F67A-40BA-890E-A840ED83B605}" destId="{AB26EC88-0333-42E8-B340-C2B4FE18384A}" srcOrd="0" destOrd="0" presId="urn:microsoft.com/office/officeart/2008/layout/LinedList"/>
    <dgm:cxn modelId="{7444ADB1-B6F2-43B0-B3AD-7953745CEB36}" type="presParOf" srcId="{58FB0A67-F67A-40BA-890E-A840ED83B605}" destId="{45792684-4DE0-4EDD-B49A-A40AB3BD4B9E}" srcOrd="1" destOrd="0" presId="urn:microsoft.com/office/officeart/2008/layout/LinedList"/>
    <dgm:cxn modelId="{E81DBD48-EF71-4AEB-ABFA-E9174B8C4CCB}" type="presParOf" srcId="{45792684-4DE0-4EDD-B49A-A40AB3BD4B9E}" destId="{7D920113-6D83-4974-923F-4CAA40CA2FDB}" srcOrd="0" destOrd="0" presId="urn:microsoft.com/office/officeart/2008/layout/LinedList"/>
    <dgm:cxn modelId="{5B01CACE-E972-470C-880C-2B0312B7CE6D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4400" b="1" dirty="0" smtClean="0"/>
            <a:t>Il </a:t>
          </a:r>
          <a:r>
            <a:rPr lang="it-IT" sz="4400" b="1" dirty="0" err="1" smtClean="0"/>
            <a:t>contributorichiesto</a:t>
          </a:r>
          <a:r>
            <a:rPr lang="it-IT" sz="4400" b="1" dirty="0" smtClean="0"/>
            <a:t> deve essere....</a:t>
          </a:r>
          <a:endParaRPr lang="it-IT" sz="4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centrato sulle indicazione dei potenziali ambiti di specializzazione rispetto al tavolo tematico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072475CA-39E6-44D8-A471-577AF76DB987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giustificato dalle evidenze, dalle scoperte imprenditoriali e dalle conoscenze possedute dagli attori </a:t>
          </a:r>
          <a:endParaRPr lang="it-IT" sz="3600" b="0" dirty="0">
            <a:solidFill>
              <a:schemeClr val="accent1"/>
            </a:solidFill>
          </a:endParaRPr>
        </a:p>
      </dgm:t>
    </dgm:pt>
    <dgm:pt modelId="{070F04A9-CFCA-417D-BF32-5D77678E5752}" type="parTrans" cxnId="{C6211E88-C192-41A1-AF7A-9C938B964870}">
      <dgm:prSet/>
      <dgm:spPr/>
      <dgm:t>
        <a:bodyPr/>
        <a:lstStyle/>
        <a:p>
          <a:endParaRPr lang="it-IT"/>
        </a:p>
      </dgm:t>
    </dgm:pt>
    <dgm:pt modelId="{1791BB8A-C1A4-4EF3-A97F-FD08B5B2C1B9}" type="sibTrans" cxnId="{C6211E88-C192-41A1-AF7A-9C938B964870}">
      <dgm:prSet/>
      <dgm:spPr/>
      <dgm:t>
        <a:bodyPr/>
        <a:lstStyle/>
        <a:p>
          <a:endParaRPr lang="it-IT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ScaleY="125122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3E9FF39-AF52-42C9-943E-4A51521C4E58}" type="presOf" srcId="{BE3B8733-AE13-4A7B-A32B-B74DE4C528D7}" destId="{67CAF0F0-11C7-41D4-B458-17DD1ACC65D7}" srcOrd="0" destOrd="0" presId="urn:microsoft.com/office/officeart/2005/8/layout/vList5"/>
    <dgm:cxn modelId="{C6211E88-C192-41A1-AF7A-9C938B964870}" srcId="{F23A2E33-A7A9-4C0C-9E2D-FE9B09B27B0C}" destId="{072475CA-39E6-44D8-A471-577AF76DB987}" srcOrd="1" destOrd="0" parTransId="{070F04A9-CFCA-417D-BF32-5D77678E5752}" sibTransId="{1791BB8A-C1A4-4EF3-A97F-FD08B5B2C1B9}"/>
    <dgm:cxn modelId="{D57464AC-AC0C-4BD6-B7AC-F1F4189E379C}" type="presOf" srcId="{072475CA-39E6-44D8-A471-577AF76DB987}" destId="{19C3370D-7B6A-4F3C-8C78-C38DF1D2FA31}" srcOrd="0" destOrd="1" presId="urn:microsoft.com/office/officeart/2005/8/layout/vList5"/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7FE31DDF-01C1-481D-85E9-D368D740A154}" type="presOf" srcId="{FA935D20-D649-4F38-A41B-69E90530D632}" destId="{19C3370D-7B6A-4F3C-8C78-C38DF1D2FA31}" srcOrd="0" destOrd="0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C5DA6535-AD84-4156-8A1E-164C6D8B1CB5}" type="presOf" srcId="{F23A2E33-A7A9-4C0C-9E2D-FE9B09B27B0C}" destId="{4B75031E-EAE2-44AE-A204-79AAE3CD8BF2}" srcOrd="0" destOrd="0" presId="urn:microsoft.com/office/officeart/2005/8/layout/vList5"/>
    <dgm:cxn modelId="{A0304C48-95D4-4EF8-BFF1-EEF6D456E1BB}" type="presParOf" srcId="{67CAF0F0-11C7-41D4-B458-17DD1ACC65D7}" destId="{91EF4C2B-0965-4D66-A48D-ECB7ACAE5C2D}" srcOrd="0" destOrd="0" presId="urn:microsoft.com/office/officeart/2005/8/layout/vList5"/>
    <dgm:cxn modelId="{D84072E6-B278-4B4C-886C-E7F9C5A4069E}" type="presParOf" srcId="{91EF4C2B-0965-4D66-A48D-ECB7ACAE5C2D}" destId="{4B75031E-EAE2-44AE-A204-79AAE3CD8BF2}" srcOrd="0" destOrd="0" presId="urn:microsoft.com/office/officeart/2005/8/layout/vList5"/>
    <dgm:cxn modelId="{8267EAFA-896D-4E1B-8B71-90A1AD52A37D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2BF37BE0-F1C9-4327-8D6B-194C8F2CF94F}">
      <dgm:prSet/>
      <dgm:spPr/>
      <dgm:t>
        <a:bodyPr/>
        <a:lstStyle/>
        <a:p>
          <a:pPr rtl="0"/>
          <a:r>
            <a:rPr lang="it-IT" b="1" dirty="0" smtClean="0">
              <a:solidFill>
                <a:schemeClr val="accent1">
                  <a:lumMod val="75000"/>
                </a:schemeClr>
              </a:solidFill>
            </a:rPr>
            <a:t>Avvio Tavoli Tematici</a:t>
          </a:r>
          <a:endParaRPr lang="it-IT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71D9F810-72EA-4D5B-B563-30C681E87258}" type="presOf" srcId="{2BF37BE0-F1C9-4327-8D6B-194C8F2CF94F}" destId="{7D920113-6D83-4974-923F-4CAA40CA2FDB}" srcOrd="0" destOrd="0" presId="urn:microsoft.com/office/officeart/2008/layout/LinedList"/>
    <dgm:cxn modelId="{C2C89C5E-F558-4C93-9C71-B2E678666545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53575D63-1112-4EAE-99C8-220E185A6733}" type="presParOf" srcId="{58FB0A67-F67A-40BA-890E-A840ED83B605}" destId="{AB26EC88-0333-42E8-B340-C2B4FE18384A}" srcOrd="0" destOrd="0" presId="urn:microsoft.com/office/officeart/2008/layout/LinedList"/>
    <dgm:cxn modelId="{57FA0921-E3DE-44A7-BEFB-A504B373033B}" type="presParOf" srcId="{58FB0A67-F67A-40BA-890E-A840ED83B605}" destId="{45792684-4DE0-4EDD-B49A-A40AB3BD4B9E}" srcOrd="1" destOrd="0" presId="urn:microsoft.com/office/officeart/2008/layout/LinedList"/>
    <dgm:cxn modelId="{51C31866-7EEB-46AD-8D6C-6ED12C7D7997}" type="presParOf" srcId="{45792684-4DE0-4EDD-B49A-A40AB3BD4B9E}" destId="{7D920113-6D83-4974-923F-4CAA40CA2FDB}" srcOrd="0" destOrd="0" presId="urn:microsoft.com/office/officeart/2008/layout/LinedList"/>
    <dgm:cxn modelId="{B57FB048-99D4-49DA-8AA2-3A899475C795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/>
      <dgm:spPr/>
      <dgm:t>
        <a:bodyPr/>
        <a:lstStyle/>
        <a:p>
          <a:pPr rtl="0"/>
          <a:r>
            <a:rPr lang="it-IT" b="1" dirty="0" smtClean="0">
              <a:solidFill>
                <a:schemeClr val="accent1">
                  <a:lumMod val="75000"/>
                </a:schemeClr>
              </a:solidFill>
            </a:rPr>
            <a:t>Ambiti di Specializzazione del Tavolo Tematico</a:t>
          </a:r>
          <a:endParaRPr lang="it-IT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4DE686B1-B179-4A2D-9367-B3A05CE82175}" type="presOf" srcId="{37F295A9-2A2E-416D-9AE6-C3404377959E}" destId="{58FB0A67-F67A-40BA-890E-A840ED83B605}" srcOrd="0" destOrd="0" presId="urn:microsoft.com/office/officeart/2008/layout/LinedList"/>
    <dgm:cxn modelId="{A899FDE4-004F-4FAE-9344-EF4BCBCF30C5}" type="presOf" srcId="{2BF37BE0-F1C9-4327-8D6B-194C8F2CF94F}" destId="{7D920113-6D83-4974-923F-4CAA40CA2FDB}" srcOrd="0" destOrd="0" presId="urn:microsoft.com/office/officeart/2008/layout/LinedList"/>
    <dgm:cxn modelId="{783B9322-519F-4478-83CC-71D63D93E4AB}" type="presParOf" srcId="{58FB0A67-F67A-40BA-890E-A840ED83B605}" destId="{AB26EC88-0333-42E8-B340-C2B4FE18384A}" srcOrd="0" destOrd="0" presId="urn:microsoft.com/office/officeart/2008/layout/LinedList"/>
    <dgm:cxn modelId="{D809BF14-C2F8-4845-BFFF-C5C04942471B}" type="presParOf" srcId="{58FB0A67-F67A-40BA-890E-A840ED83B605}" destId="{45792684-4DE0-4EDD-B49A-A40AB3BD4B9E}" srcOrd="1" destOrd="0" presId="urn:microsoft.com/office/officeart/2008/layout/LinedList"/>
    <dgm:cxn modelId="{8519A8FC-C196-4644-8AF2-7DBBDEFDDFEF}" type="presParOf" srcId="{45792684-4DE0-4EDD-B49A-A40AB3BD4B9E}" destId="{7D920113-6D83-4974-923F-4CAA40CA2FDB}" srcOrd="0" destOrd="0" presId="urn:microsoft.com/office/officeart/2008/layout/LinedList"/>
    <dgm:cxn modelId="{EAA6B201-DB11-4ECD-8FD3-EA010003CE64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6368E725-06F6-4EAD-9E0F-B66D4033C629}" type="doc">
      <dgm:prSet loTypeId="urn:microsoft.com/office/officeart/2005/8/layout/cycle8" loCatId="cycle" qsTypeId="urn:microsoft.com/office/officeart/2005/8/quickstyle/simple1#8" qsCatId="simple" csTypeId="urn:microsoft.com/office/officeart/2005/8/colors/accent6_1" csCatId="accent6" phldr="1"/>
      <dgm:spPr/>
    </dgm:pt>
    <dgm:pt modelId="{0C9909B0-C4D1-4673-8FE9-7FB1B3537D5F}">
      <dgm:prSet phldrT="[Testo]"/>
      <dgm:spPr/>
      <dgm:t>
        <a:bodyPr/>
        <a:lstStyle/>
        <a:p>
          <a:r>
            <a:rPr lang="it-IT" dirty="0" smtClean="0"/>
            <a:t>Primo progress</a:t>
          </a:r>
          <a:endParaRPr lang="it-IT" dirty="0"/>
        </a:p>
      </dgm:t>
    </dgm:pt>
    <dgm:pt modelId="{AD2FB2EF-CC11-422C-904C-430DED4E6E9E}" type="parTrans" cxnId="{D2A09C40-91F6-4B6C-A7B7-BDF212B78F01}">
      <dgm:prSet/>
      <dgm:spPr/>
      <dgm:t>
        <a:bodyPr/>
        <a:lstStyle/>
        <a:p>
          <a:endParaRPr lang="it-IT"/>
        </a:p>
      </dgm:t>
    </dgm:pt>
    <dgm:pt modelId="{2335EC0B-2C5E-40AC-8E84-BDE82BDB4B85}" type="sibTrans" cxnId="{D2A09C40-91F6-4B6C-A7B7-BDF212B78F01}">
      <dgm:prSet/>
      <dgm:spPr/>
      <dgm:t>
        <a:bodyPr/>
        <a:lstStyle/>
        <a:p>
          <a:endParaRPr lang="it-IT"/>
        </a:p>
      </dgm:t>
    </dgm:pt>
    <dgm:pt modelId="{C052A170-C5E2-46F5-AFD6-B9CAE75C92A2}">
      <dgm:prSet phldrT="[Testo]"/>
      <dgm:spPr/>
      <dgm:t>
        <a:bodyPr/>
        <a:lstStyle/>
        <a:p>
          <a:r>
            <a:rPr lang="it-IT" dirty="0" smtClean="0"/>
            <a:t>Secondo progress</a:t>
          </a:r>
          <a:endParaRPr lang="it-IT" dirty="0"/>
        </a:p>
      </dgm:t>
    </dgm:pt>
    <dgm:pt modelId="{C6F3C0F1-0242-4038-AFCB-C5A03B118BFA}" type="parTrans" cxnId="{1D8DB658-48EE-4C74-8266-7F397B268996}">
      <dgm:prSet/>
      <dgm:spPr/>
      <dgm:t>
        <a:bodyPr/>
        <a:lstStyle/>
        <a:p>
          <a:endParaRPr lang="it-IT"/>
        </a:p>
      </dgm:t>
    </dgm:pt>
    <dgm:pt modelId="{7B47B23C-536D-4D10-A1FC-69DC534B777E}" type="sibTrans" cxnId="{1D8DB658-48EE-4C74-8266-7F397B268996}">
      <dgm:prSet/>
      <dgm:spPr/>
      <dgm:t>
        <a:bodyPr/>
        <a:lstStyle/>
        <a:p>
          <a:endParaRPr lang="it-IT"/>
        </a:p>
      </dgm:t>
    </dgm:pt>
    <dgm:pt modelId="{B274D4BD-F86B-4929-8634-F6F23559CF48}" type="pres">
      <dgm:prSet presAssocID="{6368E725-06F6-4EAD-9E0F-B66D4033C629}" presName="compositeShape" presStyleCnt="0">
        <dgm:presLayoutVars>
          <dgm:chMax val="7"/>
          <dgm:dir/>
          <dgm:resizeHandles val="exact"/>
        </dgm:presLayoutVars>
      </dgm:prSet>
      <dgm:spPr/>
    </dgm:pt>
    <dgm:pt modelId="{722A1584-12A4-45C1-ACD7-958A7385C148}" type="pres">
      <dgm:prSet presAssocID="{6368E725-06F6-4EAD-9E0F-B66D4033C629}" presName="wedge1" presStyleLbl="node1" presStyleIdx="0" presStyleCnt="2"/>
      <dgm:spPr/>
      <dgm:t>
        <a:bodyPr/>
        <a:lstStyle/>
        <a:p>
          <a:endParaRPr lang="it-IT"/>
        </a:p>
      </dgm:t>
    </dgm:pt>
    <dgm:pt modelId="{3816EB57-8CB9-4243-883D-9495CA88C90A}" type="pres">
      <dgm:prSet presAssocID="{6368E725-06F6-4EAD-9E0F-B66D4033C629}" presName="dummy1a" presStyleCnt="0"/>
      <dgm:spPr/>
    </dgm:pt>
    <dgm:pt modelId="{E1E9E9C3-A608-4384-944F-7C480E88E4FF}" type="pres">
      <dgm:prSet presAssocID="{6368E725-06F6-4EAD-9E0F-B66D4033C629}" presName="dummy1b" presStyleCnt="0"/>
      <dgm:spPr/>
    </dgm:pt>
    <dgm:pt modelId="{3BCC67D8-283E-41D7-9E04-1D82D2FAC8D1}" type="pres">
      <dgm:prSet presAssocID="{6368E725-06F6-4EAD-9E0F-B66D4033C629}" presName="wedge1Tx" presStyleLbl="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11D987E-41D9-4858-92D0-BAC1D4352876}" type="pres">
      <dgm:prSet presAssocID="{6368E725-06F6-4EAD-9E0F-B66D4033C629}" presName="wedge2" presStyleLbl="node1" presStyleIdx="1" presStyleCnt="2"/>
      <dgm:spPr/>
      <dgm:t>
        <a:bodyPr/>
        <a:lstStyle/>
        <a:p>
          <a:endParaRPr lang="it-IT"/>
        </a:p>
      </dgm:t>
    </dgm:pt>
    <dgm:pt modelId="{DEB098EB-AE9B-451C-92E3-682CC1314882}" type="pres">
      <dgm:prSet presAssocID="{6368E725-06F6-4EAD-9E0F-B66D4033C629}" presName="dummy2a" presStyleCnt="0"/>
      <dgm:spPr/>
    </dgm:pt>
    <dgm:pt modelId="{E3A2AB01-BB81-4D50-ADDB-959D1112D5CE}" type="pres">
      <dgm:prSet presAssocID="{6368E725-06F6-4EAD-9E0F-B66D4033C629}" presName="dummy2b" presStyleCnt="0"/>
      <dgm:spPr/>
    </dgm:pt>
    <dgm:pt modelId="{F82E0761-BF61-4696-92A8-0EFB29262AFB}" type="pres">
      <dgm:prSet presAssocID="{6368E725-06F6-4EAD-9E0F-B66D4033C629}" presName="wedge2Tx" presStyleLbl="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91889A5-5D1D-4DA7-941E-C8B05D965E22}" type="pres">
      <dgm:prSet presAssocID="{2335EC0B-2C5E-40AC-8E84-BDE82BDB4B85}" presName="arrowWedge1" presStyleLbl="fgSibTrans2D1" presStyleIdx="0" presStyleCnt="2"/>
      <dgm:spPr/>
    </dgm:pt>
    <dgm:pt modelId="{8FA0F59F-4621-418C-96D7-0810ADA847CA}" type="pres">
      <dgm:prSet presAssocID="{7B47B23C-536D-4D10-A1FC-69DC534B777E}" presName="arrowWedge2" presStyleLbl="fgSibTrans2D1" presStyleIdx="1" presStyleCnt="2"/>
      <dgm:spPr>
        <a:solidFill>
          <a:schemeClr val="accent6">
            <a:lumMod val="75000"/>
          </a:schemeClr>
        </a:solidFill>
      </dgm:spPr>
    </dgm:pt>
  </dgm:ptLst>
  <dgm:cxnLst>
    <dgm:cxn modelId="{5E44960D-DA88-4386-9FE1-E9987D9E24F9}" type="presOf" srcId="{C052A170-C5E2-46F5-AFD6-B9CAE75C92A2}" destId="{911D987E-41D9-4858-92D0-BAC1D4352876}" srcOrd="0" destOrd="0" presId="urn:microsoft.com/office/officeart/2005/8/layout/cycle8"/>
    <dgm:cxn modelId="{D2A09C40-91F6-4B6C-A7B7-BDF212B78F01}" srcId="{6368E725-06F6-4EAD-9E0F-B66D4033C629}" destId="{0C9909B0-C4D1-4673-8FE9-7FB1B3537D5F}" srcOrd="0" destOrd="0" parTransId="{AD2FB2EF-CC11-422C-904C-430DED4E6E9E}" sibTransId="{2335EC0B-2C5E-40AC-8E84-BDE82BDB4B85}"/>
    <dgm:cxn modelId="{1D8DB658-48EE-4C74-8266-7F397B268996}" srcId="{6368E725-06F6-4EAD-9E0F-B66D4033C629}" destId="{C052A170-C5E2-46F5-AFD6-B9CAE75C92A2}" srcOrd="1" destOrd="0" parTransId="{C6F3C0F1-0242-4038-AFCB-C5A03B118BFA}" sibTransId="{7B47B23C-536D-4D10-A1FC-69DC534B777E}"/>
    <dgm:cxn modelId="{F775E635-F358-401F-AB16-4369FA755FCF}" type="presOf" srcId="{C052A170-C5E2-46F5-AFD6-B9CAE75C92A2}" destId="{F82E0761-BF61-4696-92A8-0EFB29262AFB}" srcOrd="1" destOrd="0" presId="urn:microsoft.com/office/officeart/2005/8/layout/cycle8"/>
    <dgm:cxn modelId="{8C2A88EC-A2AE-4F4D-84E6-A80FCC64C2D3}" type="presOf" srcId="{0C9909B0-C4D1-4673-8FE9-7FB1B3537D5F}" destId="{3BCC67D8-283E-41D7-9E04-1D82D2FAC8D1}" srcOrd="1" destOrd="0" presId="urn:microsoft.com/office/officeart/2005/8/layout/cycle8"/>
    <dgm:cxn modelId="{A80810F9-4D63-4DAE-949C-41CB62DC238C}" type="presOf" srcId="{0C9909B0-C4D1-4673-8FE9-7FB1B3537D5F}" destId="{722A1584-12A4-45C1-ACD7-958A7385C148}" srcOrd="0" destOrd="0" presId="urn:microsoft.com/office/officeart/2005/8/layout/cycle8"/>
    <dgm:cxn modelId="{862CF718-1E5F-4D0A-8FF1-6C9E4F6CEE52}" type="presOf" srcId="{6368E725-06F6-4EAD-9E0F-B66D4033C629}" destId="{B274D4BD-F86B-4929-8634-F6F23559CF48}" srcOrd="0" destOrd="0" presId="urn:microsoft.com/office/officeart/2005/8/layout/cycle8"/>
    <dgm:cxn modelId="{75F83001-E5B6-44B6-89C8-09E8EB8B5096}" type="presParOf" srcId="{B274D4BD-F86B-4929-8634-F6F23559CF48}" destId="{722A1584-12A4-45C1-ACD7-958A7385C148}" srcOrd="0" destOrd="0" presId="urn:microsoft.com/office/officeart/2005/8/layout/cycle8"/>
    <dgm:cxn modelId="{469AD727-9DFB-43BE-B6AC-6F568D1AFAEB}" type="presParOf" srcId="{B274D4BD-F86B-4929-8634-F6F23559CF48}" destId="{3816EB57-8CB9-4243-883D-9495CA88C90A}" srcOrd="1" destOrd="0" presId="urn:microsoft.com/office/officeart/2005/8/layout/cycle8"/>
    <dgm:cxn modelId="{9841C5FA-3EC4-4DE6-914E-3A19ECD75085}" type="presParOf" srcId="{B274D4BD-F86B-4929-8634-F6F23559CF48}" destId="{E1E9E9C3-A608-4384-944F-7C480E88E4FF}" srcOrd="2" destOrd="0" presId="urn:microsoft.com/office/officeart/2005/8/layout/cycle8"/>
    <dgm:cxn modelId="{4721C877-80B8-4BF6-883D-1492D1E79B6B}" type="presParOf" srcId="{B274D4BD-F86B-4929-8634-F6F23559CF48}" destId="{3BCC67D8-283E-41D7-9E04-1D82D2FAC8D1}" srcOrd="3" destOrd="0" presId="urn:microsoft.com/office/officeart/2005/8/layout/cycle8"/>
    <dgm:cxn modelId="{665AFF99-39B0-4601-BCCF-E63332080F2D}" type="presParOf" srcId="{B274D4BD-F86B-4929-8634-F6F23559CF48}" destId="{911D987E-41D9-4858-92D0-BAC1D4352876}" srcOrd="4" destOrd="0" presId="urn:microsoft.com/office/officeart/2005/8/layout/cycle8"/>
    <dgm:cxn modelId="{B2A2F805-84AA-4BBB-87F5-0AC4F4BA02F5}" type="presParOf" srcId="{B274D4BD-F86B-4929-8634-F6F23559CF48}" destId="{DEB098EB-AE9B-451C-92E3-682CC1314882}" srcOrd="5" destOrd="0" presId="urn:microsoft.com/office/officeart/2005/8/layout/cycle8"/>
    <dgm:cxn modelId="{B0D78DE1-C452-4C3A-AF7D-4D95FB93BB84}" type="presParOf" srcId="{B274D4BD-F86B-4929-8634-F6F23559CF48}" destId="{E3A2AB01-BB81-4D50-ADDB-959D1112D5CE}" srcOrd="6" destOrd="0" presId="urn:microsoft.com/office/officeart/2005/8/layout/cycle8"/>
    <dgm:cxn modelId="{67DC9B4E-F77F-4A2D-A6BA-42430044AE6B}" type="presParOf" srcId="{B274D4BD-F86B-4929-8634-F6F23559CF48}" destId="{F82E0761-BF61-4696-92A8-0EFB29262AFB}" srcOrd="7" destOrd="0" presId="urn:microsoft.com/office/officeart/2005/8/layout/cycle8"/>
    <dgm:cxn modelId="{74F67B56-2405-4B20-AB93-2646CFF2E297}" type="presParOf" srcId="{B274D4BD-F86B-4929-8634-F6F23559CF48}" destId="{091889A5-5D1D-4DA7-941E-C8B05D965E22}" srcOrd="8" destOrd="0" presId="urn:microsoft.com/office/officeart/2005/8/layout/cycle8"/>
    <dgm:cxn modelId="{3D4CCD60-6580-4ACB-B1C7-3252D79D7E5E}" type="presParOf" srcId="{B274D4BD-F86B-4929-8634-F6F23559CF48}" destId="{8FA0F59F-4621-418C-96D7-0810ADA847CA}" srcOrd="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2400" b="1" dirty="0" smtClean="0"/>
            <a:t>TAVOLO </a:t>
          </a:r>
          <a:r>
            <a:rPr lang="it-IT" altLang="it-IT" sz="2400" b="1" dirty="0" smtClean="0">
              <a:solidFill>
                <a:schemeClr val="bg1"/>
              </a:solidFill>
              <a:latin typeface="Neo Sans Std Medium" pitchFamily="34" charset="0"/>
            </a:rPr>
            <a:t>SCIENZE DELLA VITA</a:t>
          </a:r>
          <a:endParaRPr lang="it-IT" sz="2400" b="1" dirty="0">
            <a:solidFill>
              <a:schemeClr val="bg1"/>
            </a:solidFill>
          </a:endParaRPr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 sz="2000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 sz="2000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Referenti </a:t>
          </a:r>
          <a:r>
            <a:rPr lang="it-IT" sz="2000" b="0" dirty="0" err="1" smtClean="0">
              <a:solidFill>
                <a:schemeClr val="accent1"/>
              </a:solidFill>
            </a:rPr>
            <a:t>GdL</a:t>
          </a:r>
          <a:r>
            <a:rPr lang="it-IT" sz="2000" b="0" dirty="0" smtClean="0">
              <a:solidFill>
                <a:schemeClr val="accent1"/>
              </a:solidFill>
            </a:rPr>
            <a:t> </a:t>
          </a:r>
          <a:r>
            <a:rPr lang="it-IT" sz="2000" b="0" dirty="0" err="1" smtClean="0">
              <a:solidFill>
                <a:schemeClr val="accent1"/>
              </a:solidFill>
            </a:rPr>
            <a:t>interdiscipinare</a:t>
          </a:r>
          <a:endParaRPr lang="it-IT" sz="20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 sz="2000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 sz="2000"/>
        </a:p>
      </dgm:t>
    </dgm:pt>
    <dgm:pt modelId="{89F07F7C-8BA3-46F7-A28D-8A6C31313FEE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Esperti nazionali </a:t>
          </a:r>
          <a:r>
            <a:rPr lang="it-IT" sz="2000" b="0" dirty="0" err="1" smtClean="0">
              <a:solidFill>
                <a:schemeClr val="accent1"/>
              </a:solidFill>
            </a:rPr>
            <a:t>MiSE</a:t>
          </a:r>
          <a:r>
            <a:rPr lang="it-IT" sz="2000" b="0" dirty="0" smtClean="0">
              <a:solidFill>
                <a:schemeClr val="accent1"/>
              </a:solidFill>
            </a:rPr>
            <a:t> - MIUR</a:t>
          </a:r>
          <a:endParaRPr lang="it-IT" sz="2000" b="0" dirty="0">
            <a:solidFill>
              <a:schemeClr val="accent1"/>
            </a:solidFill>
          </a:endParaRPr>
        </a:p>
      </dgm:t>
    </dgm:pt>
    <dgm:pt modelId="{331569E9-EE59-498E-9B5F-54872AAB6155}" type="parTrans" cxnId="{1DB134B3-7029-4867-8530-044DDD05C6A7}">
      <dgm:prSet/>
      <dgm:spPr/>
      <dgm:t>
        <a:bodyPr/>
        <a:lstStyle/>
        <a:p>
          <a:endParaRPr lang="it-IT" sz="2000"/>
        </a:p>
      </dgm:t>
    </dgm:pt>
    <dgm:pt modelId="{D5429856-796F-4F08-B731-87F79A2D3D0C}" type="sibTrans" cxnId="{1DB134B3-7029-4867-8530-044DDD05C6A7}">
      <dgm:prSet/>
      <dgm:spPr/>
      <dgm:t>
        <a:bodyPr/>
        <a:lstStyle/>
        <a:p>
          <a:endParaRPr lang="it-IT" sz="2000"/>
        </a:p>
      </dgm:t>
    </dgm:pt>
    <dgm:pt modelId="{8BB6A080-A949-4D1C-B030-163CE8EC11BC}">
      <dgm:prSet phldrT="[Testo]" custT="1"/>
      <dgm:spPr/>
      <dgm:t>
        <a:bodyPr/>
        <a:lstStyle/>
        <a:p>
          <a:r>
            <a:rPr lang="it-IT" sz="2000" b="0" dirty="0" smtClean="0">
              <a:solidFill>
                <a:srgbClr val="FF0000"/>
              </a:solidFill>
            </a:rPr>
            <a:t>Attori del territorio portatori di conoscenze e competenze che hanno inviato il modulo di adesione  </a:t>
          </a:r>
          <a:endParaRPr lang="it-IT" sz="2000" b="0" dirty="0">
            <a:solidFill>
              <a:srgbClr val="FF0000"/>
            </a:solidFill>
          </a:endParaRPr>
        </a:p>
      </dgm:t>
    </dgm:pt>
    <dgm:pt modelId="{B7D68DE0-F979-4024-9E91-C355F70A818F}" type="parTrans" cxnId="{46B7F6E8-B65C-483A-96AC-86247C4F21DA}">
      <dgm:prSet/>
      <dgm:spPr/>
      <dgm:t>
        <a:bodyPr/>
        <a:lstStyle/>
        <a:p>
          <a:endParaRPr lang="it-IT" sz="2000"/>
        </a:p>
      </dgm:t>
    </dgm:pt>
    <dgm:pt modelId="{94EAB1A3-E966-4F06-B413-5526B2035841}" type="sibTrans" cxnId="{46B7F6E8-B65C-483A-96AC-86247C4F21DA}">
      <dgm:prSet/>
      <dgm:spPr/>
      <dgm:t>
        <a:bodyPr/>
        <a:lstStyle/>
        <a:p>
          <a:endParaRPr lang="it-IT" sz="2000"/>
        </a:p>
      </dgm:t>
    </dgm:pt>
    <dgm:pt modelId="{EC43B956-372B-403A-9F15-9A51E24CCC08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Facilitatori</a:t>
          </a:r>
          <a:endParaRPr lang="it-IT" sz="2000" b="0" dirty="0">
            <a:solidFill>
              <a:schemeClr val="accent1"/>
            </a:solidFill>
          </a:endParaRPr>
        </a:p>
      </dgm:t>
    </dgm:pt>
    <dgm:pt modelId="{2C35DA52-C47F-49FF-8381-3D2B976F0974}" type="parTrans" cxnId="{123893C6-D1CF-4A3E-B249-8BE8CB6E8A60}">
      <dgm:prSet/>
      <dgm:spPr/>
      <dgm:t>
        <a:bodyPr/>
        <a:lstStyle/>
        <a:p>
          <a:endParaRPr lang="it-IT" sz="2000"/>
        </a:p>
      </dgm:t>
    </dgm:pt>
    <dgm:pt modelId="{2CD06480-FAED-4496-AC35-B7DBAAF42A19}" type="sibTrans" cxnId="{123893C6-D1CF-4A3E-B249-8BE8CB6E8A60}">
      <dgm:prSet/>
      <dgm:spPr/>
      <dgm:t>
        <a:bodyPr/>
        <a:lstStyle/>
        <a:p>
          <a:endParaRPr lang="it-IT" sz="2000"/>
        </a:p>
      </dgm:t>
    </dgm:pt>
    <dgm:pt modelId="{C626F9B2-0463-47D3-BA52-A872326A8ACE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Referenti Dipartimenti regionali</a:t>
          </a:r>
          <a:endParaRPr lang="it-IT" sz="2000" b="0" dirty="0">
            <a:solidFill>
              <a:schemeClr val="accent1"/>
            </a:solidFill>
          </a:endParaRPr>
        </a:p>
      </dgm:t>
    </dgm:pt>
    <dgm:pt modelId="{621246B2-0F72-43CC-BBBD-4861827B02CA}" type="parTrans" cxnId="{926D403E-A820-4B35-8474-CECEDBE1FE93}">
      <dgm:prSet/>
      <dgm:spPr/>
      <dgm:t>
        <a:bodyPr/>
        <a:lstStyle/>
        <a:p>
          <a:endParaRPr lang="it-IT" sz="2000"/>
        </a:p>
      </dgm:t>
    </dgm:pt>
    <dgm:pt modelId="{2AB5A212-C1F2-4108-95E6-F5AF0A6EE3EB}" type="sibTrans" cxnId="{926D403E-A820-4B35-8474-CECEDBE1FE93}">
      <dgm:prSet/>
      <dgm:spPr/>
      <dgm:t>
        <a:bodyPr/>
        <a:lstStyle/>
        <a:p>
          <a:endParaRPr lang="it-IT" sz="2000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ScaleX="106033" custLinFactNeighborX="-689" custLinFactNeighborY="2564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ScaleX="124766" custScaleY="122865" custLinFactNeighborX="3125" custLinFactNeighborY="534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9BD29A18-F728-4C2C-9CC4-F60292A61A63}" type="presOf" srcId="{8BB6A080-A949-4D1C-B030-163CE8EC11BC}" destId="{19C3370D-7B6A-4F3C-8C78-C38DF1D2FA31}" srcOrd="0" destOrd="4" presId="urn:microsoft.com/office/officeart/2005/8/layout/vList5"/>
    <dgm:cxn modelId="{056C9787-7244-4955-9DA4-CC278E328390}" type="presOf" srcId="{FA935D20-D649-4F38-A41B-69E90530D632}" destId="{19C3370D-7B6A-4F3C-8C78-C38DF1D2FA31}" srcOrd="0" destOrd="0" presId="urn:microsoft.com/office/officeart/2005/8/layout/vList5"/>
    <dgm:cxn modelId="{7C780694-8F08-4517-B38B-BB026D21E6A0}" type="presOf" srcId="{EC43B956-372B-403A-9F15-9A51E24CCC08}" destId="{19C3370D-7B6A-4F3C-8C78-C38DF1D2FA31}" srcOrd="0" destOrd="3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926D403E-A820-4B35-8474-CECEDBE1FE93}" srcId="{F23A2E33-A7A9-4C0C-9E2D-FE9B09B27B0C}" destId="{C626F9B2-0463-47D3-BA52-A872326A8ACE}" srcOrd="1" destOrd="0" parTransId="{621246B2-0F72-43CC-BBBD-4861827B02CA}" sibTransId="{2AB5A212-C1F2-4108-95E6-F5AF0A6EE3EB}"/>
    <dgm:cxn modelId="{33F031A9-0623-4135-907D-955BB9C92529}" type="presOf" srcId="{F23A2E33-A7A9-4C0C-9E2D-FE9B09B27B0C}" destId="{4B75031E-EAE2-44AE-A204-79AAE3CD8BF2}" srcOrd="0" destOrd="0" presId="urn:microsoft.com/office/officeart/2005/8/layout/vList5"/>
    <dgm:cxn modelId="{54A2619D-BCA8-4744-B9D2-160B796140EB}" type="presOf" srcId="{BE3B8733-AE13-4A7B-A32B-B74DE4C528D7}" destId="{67CAF0F0-11C7-41D4-B458-17DD1ACC65D7}" srcOrd="0" destOrd="0" presId="urn:microsoft.com/office/officeart/2005/8/layout/vList5"/>
    <dgm:cxn modelId="{123893C6-D1CF-4A3E-B249-8BE8CB6E8A60}" srcId="{F23A2E33-A7A9-4C0C-9E2D-FE9B09B27B0C}" destId="{EC43B956-372B-403A-9F15-9A51E24CCC08}" srcOrd="3" destOrd="0" parTransId="{2C35DA52-C47F-49FF-8381-3D2B976F0974}" sibTransId="{2CD06480-FAED-4496-AC35-B7DBAAF42A19}"/>
    <dgm:cxn modelId="{E858600B-E17F-407B-BEA7-78FD027C9808}" type="presOf" srcId="{89F07F7C-8BA3-46F7-A28D-8A6C31313FEE}" destId="{19C3370D-7B6A-4F3C-8C78-C38DF1D2FA31}" srcOrd="0" destOrd="2" presId="urn:microsoft.com/office/officeart/2005/8/layout/vList5"/>
    <dgm:cxn modelId="{1DB134B3-7029-4867-8530-044DDD05C6A7}" srcId="{F23A2E33-A7A9-4C0C-9E2D-FE9B09B27B0C}" destId="{89F07F7C-8BA3-46F7-A28D-8A6C31313FEE}" srcOrd="2" destOrd="0" parTransId="{331569E9-EE59-498E-9B5F-54872AAB6155}" sibTransId="{D5429856-796F-4F08-B731-87F79A2D3D0C}"/>
    <dgm:cxn modelId="{A69AA22A-C657-41F5-B6D3-310D8E31CCBF}" type="presOf" srcId="{C626F9B2-0463-47D3-BA52-A872326A8ACE}" destId="{19C3370D-7B6A-4F3C-8C78-C38DF1D2FA31}" srcOrd="0" destOrd="1" presId="urn:microsoft.com/office/officeart/2005/8/layout/vList5"/>
    <dgm:cxn modelId="{46B7F6E8-B65C-483A-96AC-86247C4F21DA}" srcId="{F23A2E33-A7A9-4C0C-9E2D-FE9B09B27B0C}" destId="{8BB6A080-A949-4D1C-B030-163CE8EC11BC}" srcOrd="4" destOrd="0" parTransId="{B7D68DE0-F979-4024-9E91-C355F70A818F}" sibTransId="{94EAB1A3-E966-4F06-B413-5526B2035841}"/>
    <dgm:cxn modelId="{331481D6-D7AB-464C-88F0-512B0430D12B}" type="presParOf" srcId="{67CAF0F0-11C7-41D4-B458-17DD1ACC65D7}" destId="{91EF4C2B-0965-4D66-A48D-ECB7ACAE5C2D}" srcOrd="0" destOrd="0" presId="urn:microsoft.com/office/officeart/2005/8/layout/vList5"/>
    <dgm:cxn modelId="{01B43384-4691-4533-AB06-478D21FA2915}" type="presParOf" srcId="{91EF4C2B-0965-4D66-A48D-ECB7ACAE5C2D}" destId="{4B75031E-EAE2-44AE-A204-79AAE3CD8BF2}" srcOrd="0" destOrd="0" presId="urn:microsoft.com/office/officeart/2005/8/layout/vList5"/>
    <dgm:cxn modelId="{A40DD348-7CCA-4646-8A31-3C1CE1DC95FE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D4F1EAED-12F8-4C94-9DF2-1077F7D30BBE}" type="doc">
      <dgm:prSet loTypeId="urn:microsoft.com/office/officeart/2005/8/layout/pList2#1" loCatId="list" qsTypeId="urn:microsoft.com/office/officeart/2005/8/quickstyle/simple1#9" qsCatId="simple" csTypeId="urn:microsoft.com/office/officeart/2005/8/colors/colorful1#6" csCatId="colorful" phldr="1"/>
      <dgm:spPr/>
      <dgm:t>
        <a:bodyPr/>
        <a:lstStyle/>
        <a:p>
          <a:endParaRPr lang="it-IT"/>
        </a:p>
      </dgm:t>
    </dgm:pt>
    <dgm:pt modelId="{30F7430D-D893-41AA-AF7B-1C87C7A886D4}">
      <dgm:prSet/>
      <dgm:spPr/>
      <dgm:t>
        <a:bodyPr/>
        <a:lstStyle/>
        <a:p>
          <a:pPr rtl="0"/>
          <a:r>
            <a:rPr lang="it-IT" b="1" dirty="0" smtClean="0"/>
            <a:t>TIME LINE RICERCA ED ANALISI </a:t>
          </a:r>
          <a:endParaRPr lang="it-IT" b="1" dirty="0"/>
        </a:p>
      </dgm:t>
    </dgm:pt>
    <dgm:pt modelId="{DB29567A-9372-40EE-B198-CE2B06F793B1}" type="parTrans" cxnId="{0B649771-3FF5-44EE-9D0A-38BD13D96BFD}">
      <dgm:prSet/>
      <dgm:spPr/>
      <dgm:t>
        <a:bodyPr/>
        <a:lstStyle/>
        <a:p>
          <a:endParaRPr lang="it-IT"/>
        </a:p>
      </dgm:t>
    </dgm:pt>
    <dgm:pt modelId="{C4A87172-E5F1-4E8B-B227-4CB5521E3509}" type="sibTrans" cxnId="{0B649771-3FF5-44EE-9D0A-38BD13D96BFD}">
      <dgm:prSet/>
      <dgm:spPr/>
      <dgm:t>
        <a:bodyPr/>
        <a:lstStyle/>
        <a:p>
          <a:endParaRPr lang="it-IT"/>
        </a:p>
      </dgm:t>
    </dgm:pt>
    <dgm:pt modelId="{2463FFA6-33B0-462C-9A44-8450B0E48458}" type="pres">
      <dgm:prSet presAssocID="{D4F1EAED-12F8-4C94-9DF2-1077F7D30BB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393C6C5-800F-4AD0-9287-91F0CE3F8018}" type="pres">
      <dgm:prSet presAssocID="{D4F1EAED-12F8-4C94-9DF2-1077F7D30BBE}" presName="bkgdShp" presStyleLbl="alignAccFollowNode1" presStyleIdx="0" presStyleCnt="1"/>
      <dgm:spPr/>
    </dgm:pt>
    <dgm:pt modelId="{74C4F42C-359C-44EB-A001-40CADA2F449F}" type="pres">
      <dgm:prSet presAssocID="{D4F1EAED-12F8-4C94-9DF2-1077F7D30BBE}" presName="linComp" presStyleCnt="0"/>
      <dgm:spPr/>
    </dgm:pt>
    <dgm:pt modelId="{3E5E4DD6-A7F8-43B6-BB96-A23D2A6941E2}" type="pres">
      <dgm:prSet presAssocID="{30F7430D-D893-41AA-AF7B-1C87C7A886D4}" presName="compNode" presStyleCnt="0"/>
      <dgm:spPr/>
    </dgm:pt>
    <dgm:pt modelId="{B67DCA96-203E-4FCF-BFE0-43C97B4D268A}" type="pres">
      <dgm:prSet presAssocID="{30F7430D-D893-41AA-AF7B-1C87C7A886D4}" presName="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028E46A-8ABF-46C6-A83F-C574172843C0}" type="pres">
      <dgm:prSet presAssocID="{30F7430D-D893-41AA-AF7B-1C87C7A886D4}" presName="invisiNode" presStyleLbl="node1" presStyleIdx="0" presStyleCnt="1"/>
      <dgm:spPr/>
    </dgm:pt>
    <dgm:pt modelId="{ED743BFD-89FA-49AE-B8B8-5B451728DC2D}" type="pres">
      <dgm:prSet presAssocID="{30F7430D-D893-41AA-AF7B-1C87C7A886D4}" presName="imagNode" presStyleLbl="fgImgPlace1" presStyleIdx="0" presStyleCnt="1"/>
      <dgm:spPr/>
    </dgm:pt>
  </dgm:ptLst>
  <dgm:cxnLst>
    <dgm:cxn modelId="{9BF7F5C2-0D2D-4574-90B2-E50130C1646A}" type="presOf" srcId="{D4F1EAED-12F8-4C94-9DF2-1077F7D30BBE}" destId="{2463FFA6-33B0-462C-9A44-8450B0E48458}" srcOrd="0" destOrd="0" presId="urn:microsoft.com/office/officeart/2005/8/layout/pList2#1"/>
    <dgm:cxn modelId="{0B649771-3FF5-44EE-9D0A-38BD13D96BFD}" srcId="{D4F1EAED-12F8-4C94-9DF2-1077F7D30BBE}" destId="{30F7430D-D893-41AA-AF7B-1C87C7A886D4}" srcOrd="0" destOrd="0" parTransId="{DB29567A-9372-40EE-B198-CE2B06F793B1}" sibTransId="{C4A87172-E5F1-4E8B-B227-4CB5521E3509}"/>
    <dgm:cxn modelId="{102608D2-889B-4096-953C-2D31EA385887}" type="presOf" srcId="{30F7430D-D893-41AA-AF7B-1C87C7A886D4}" destId="{B67DCA96-203E-4FCF-BFE0-43C97B4D268A}" srcOrd="0" destOrd="0" presId="urn:microsoft.com/office/officeart/2005/8/layout/pList2#1"/>
    <dgm:cxn modelId="{4BAE6A9A-451A-4436-B28F-C03630BF9002}" type="presParOf" srcId="{2463FFA6-33B0-462C-9A44-8450B0E48458}" destId="{4393C6C5-800F-4AD0-9287-91F0CE3F8018}" srcOrd="0" destOrd="0" presId="urn:microsoft.com/office/officeart/2005/8/layout/pList2#1"/>
    <dgm:cxn modelId="{8C824524-B2D9-44BD-B1BD-DF23AE525017}" type="presParOf" srcId="{2463FFA6-33B0-462C-9A44-8450B0E48458}" destId="{74C4F42C-359C-44EB-A001-40CADA2F449F}" srcOrd="1" destOrd="0" presId="urn:microsoft.com/office/officeart/2005/8/layout/pList2#1"/>
    <dgm:cxn modelId="{C7EAAB20-E35F-4173-86A6-1293997E47B1}" type="presParOf" srcId="{74C4F42C-359C-44EB-A001-40CADA2F449F}" destId="{3E5E4DD6-A7F8-43B6-BB96-A23D2A6941E2}" srcOrd="0" destOrd="0" presId="urn:microsoft.com/office/officeart/2005/8/layout/pList2#1"/>
    <dgm:cxn modelId="{D083CCB1-3E8E-4240-AF34-E3E4BB94344E}" type="presParOf" srcId="{3E5E4DD6-A7F8-43B6-BB96-A23D2A6941E2}" destId="{B67DCA96-203E-4FCF-BFE0-43C97B4D268A}" srcOrd="0" destOrd="0" presId="urn:microsoft.com/office/officeart/2005/8/layout/pList2#1"/>
    <dgm:cxn modelId="{E3D5ABB2-FB20-4A15-BCCB-586449395DE3}" type="presParOf" srcId="{3E5E4DD6-A7F8-43B6-BB96-A23D2A6941E2}" destId="{5028E46A-8ABF-46C6-A83F-C574172843C0}" srcOrd="1" destOrd="0" presId="urn:microsoft.com/office/officeart/2005/8/layout/pList2#1"/>
    <dgm:cxn modelId="{80718EF1-170C-4D00-851D-5493CB9556E0}" type="presParOf" srcId="{3E5E4DD6-A7F8-43B6-BB96-A23D2A6941E2}" destId="{ED743BFD-89FA-49AE-B8B8-5B451728DC2D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D4F1EAED-12F8-4C94-9DF2-1077F7D30BBE}" type="doc">
      <dgm:prSet loTypeId="urn:microsoft.com/office/officeart/2005/8/layout/pList2#2" loCatId="list" qsTypeId="urn:microsoft.com/office/officeart/2005/8/quickstyle/simple1#10" qsCatId="simple" csTypeId="urn:microsoft.com/office/officeart/2005/8/colors/colorful1#7" csCatId="colorful" phldr="1"/>
      <dgm:spPr/>
      <dgm:t>
        <a:bodyPr/>
        <a:lstStyle/>
        <a:p>
          <a:endParaRPr lang="it-IT"/>
        </a:p>
      </dgm:t>
    </dgm:pt>
    <dgm:pt modelId="{2463FFA6-33B0-462C-9A44-8450B0E48458}" type="pres">
      <dgm:prSet presAssocID="{D4F1EAED-12F8-4C94-9DF2-1077F7D30BB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</dgm:ptLst>
  <dgm:cxnLst>
    <dgm:cxn modelId="{BA17A970-3A61-4787-98B0-67FD0B0B42EA}" type="presOf" srcId="{D4F1EAED-12F8-4C94-9DF2-1077F7D30BBE}" destId="{2463FFA6-33B0-462C-9A44-8450B0E48458}" srcOrd="0" destOrd="0" presId="urn:microsoft.com/office/officeart/2005/8/layout/pList2#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2400" b="1" u="none" strike="noStrike" dirty="0" smtClean="0">
              <a:solidFill>
                <a:schemeClr val="accent1">
                  <a:lumMod val="75000"/>
                </a:schemeClr>
              </a:solidFill>
              <a:effectLst/>
            </a:rPr>
            <a:t>A che punto è la definizione della RIS 3 Sicilia: percorso svolto</a:t>
          </a:r>
          <a:endParaRPr lang="it-IT" sz="24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24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24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23E8D5E7-0860-4130-B798-1ADBEFAF12CA}" type="presOf" srcId="{37F295A9-2A2E-416D-9AE6-C3404377959E}" destId="{58FB0A67-F67A-40BA-890E-A840ED83B605}" srcOrd="0" destOrd="0" presId="urn:microsoft.com/office/officeart/2008/layout/LinedList"/>
    <dgm:cxn modelId="{8AC679FB-77D1-44FF-A26A-1F4F5559E45B}" type="presOf" srcId="{2BF37BE0-F1C9-4327-8D6B-194C8F2CF94F}" destId="{7D920113-6D83-4974-923F-4CAA40CA2FDB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56F95B58-CB10-48BF-A723-C7F496859DB5}" type="presParOf" srcId="{58FB0A67-F67A-40BA-890E-A840ED83B605}" destId="{AB26EC88-0333-42E8-B340-C2B4FE18384A}" srcOrd="0" destOrd="0" presId="urn:microsoft.com/office/officeart/2008/layout/LinedList"/>
    <dgm:cxn modelId="{66242CF3-5F57-4867-BC77-855D79AC3180}" type="presParOf" srcId="{58FB0A67-F67A-40BA-890E-A840ED83B605}" destId="{45792684-4DE0-4EDD-B49A-A40AB3BD4B9E}" srcOrd="1" destOrd="0" presId="urn:microsoft.com/office/officeart/2008/layout/LinedList"/>
    <dgm:cxn modelId="{665376B0-C617-4CD7-96E7-95D21FDECA30}" type="presParOf" srcId="{45792684-4DE0-4EDD-B49A-A40AB3BD4B9E}" destId="{7D920113-6D83-4974-923F-4CAA40CA2FDB}" srcOrd="0" destOrd="0" presId="urn:microsoft.com/office/officeart/2008/layout/LinedList"/>
    <dgm:cxn modelId="{4184CBE6-B0D2-41DB-A12D-D7D0CD7B2BFD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3C448BFD-0757-4526-824B-930CC0898245}" type="doc">
      <dgm:prSet loTypeId="urn:microsoft.com/office/officeart/2005/8/layout/bProcess4" loCatId="process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AC32D306-F587-4CB9-835C-CB1C93D72DE3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1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rgbClr val="FF0000"/>
              </a:solidFill>
            </a:rPr>
            <a:t>Azione di feedback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rgbClr val="FF0000"/>
              </a:solidFill>
            </a:rPr>
            <a:t>    e di restituzione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rgbClr val="FF0000"/>
              </a:solidFill>
            </a:rPr>
            <a:t>    (Laboratorio)</a:t>
          </a:r>
          <a:endParaRPr lang="it-IT" sz="1400" b="1" i="0" dirty="0">
            <a:solidFill>
              <a:srgbClr val="FF0000"/>
            </a:solidFill>
          </a:endParaRPr>
        </a:p>
      </dgm:t>
    </dgm:pt>
    <dgm:pt modelId="{B20F7F9E-EF1F-4DD8-ABB2-53771A1A10E3}" type="parTrans" cxnId="{71593942-5520-489A-BCAA-B9EF37EDB689}">
      <dgm:prSet/>
      <dgm:spPr/>
      <dgm:t>
        <a:bodyPr/>
        <a:lstStyle/>
        <a:p>
          <a:endParaRPr lang="it-IT"/>
        </a:p>
      </dgm:t>
    </dgm:pt>
    <dgm:pt modelId="{B16A180A-39BC-4A8E-AF29-C5D023E10D29}" type="sibTrans" cxnId="{71593942-5520-489A-BCAA-B9EF37EDB689}">
      <dgm:prSet/>
      <dgm:spPr/>
      <dgm:t>
        <a:bodyPr/>
        <a:lstStyle/>
        <a:p>
          <a:endParaRPr lang="it-IT"/>
        </a:p>
      </dgm:t>
    </dgm:pt>
    <dgm:pt modelId="{5178DB71-92E8-4E6E-90FB-FCABDCA37DAD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2.Individuazione ambiti di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chemeClr val="accent1"/>
              </a:solidFill>
            </a:rPr>
            <a:t>   </a:t>
          </a:r>
          <a:r>
            <a:rPr lang="it-IT" sz="1400" b="1" dirty="0" err="1" smtClean="0">
              <a:solidFill>
                <a:schemeClr val="accent1"/>
              </a:solidFill>
            </a:rPr>
            <a:t>governance</a:t>
          </a:r>
          <a:r>
            <a:rPr lang="it-IT" sz="1400" b="1" dirty="0" smtClean="0">
              <a:solidFill>
                <a:schemeClr val="accent1"/>
              </a:solidFill>
            </a:rPr>
            <a:t> territoriale</a:t>
          </a:r>
          <a:endParaRPr lang="it-IT" sz="1400" b="1" dirty="0">
            <a:solidFill>
              <a:schemeClr val="accent1"/>
            </a:solidFill>
          </a:endParaRPr>
        </a:p>
      </dgm:t>
    </dgm:pt>
    <dgm:pt modelId="{A79728ED-4D5B-48E8-A395-AA1E8635C4CF}" type="parTrans" cxnId="{1383E022-21B6-4AB3-A55F-94557F5BD9CA}">
      <dgm:prSet/>
      <dgm:spPr/>
      <dgm:t>
        <a:bodyPr/>
        <a:lstStyle/>
        <a:p>
          <a:endParaRPr lang="it-IT"/>
        </a:p>
      </dgm:t>
    </dgm:pt>
    <dgm:pt modelId="{CA6F4989-C138-40A9-8AF5-A514917E80A6}" type="sibTrans" cxnId="{1383E022-21B6-4AB3-A55F-94557F5BD9CA}">
      <dgm:prSet/>
      <dgm:spPr/>
      <dgm:t>
        <a:bodyPr/>
        <a:lstStyle/>
        <a:p>
          <a:endParaRPr lang="it-IT"/>
        </a:p>
      </dgm:t>
    </dgm:pt>
    <dgm:pt modelId="{B8C2C0D2-FDDA-4FAB-A4E3-2B18589E9C35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3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Condivisione delle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priorità</a:t>
          </a:r>
          <a:endParaRPr lang="it-IT" sz="1400" b="1" dirty="0">
            <a:solidFill>
              <a:schemeClr val="accent1"/>
            </a:solidFill>
          </a:endParaRPr>
        </a:p>
      </dgm:t>
    </dgm:pt>
    <dgm:pt modelId="{7902D07F-1689-4333-ADBC-08091F901300}" type="parTrans" cxnId="{6897825E-FE7D-4BF0-A9D6-7103F67B8522}">
      <dgm:prSet/>
      <dgm:spPr/>
      <dgm:t>
        <a:bodyPr/>
        <a:lstStyle/>
        <a:p>
          <a:endParaRPr lang="it-IT"/>
        </a:p>
      </dgm:t>
    </dgm:pt>
    <dgm:pt modelId="{211F9C3C-982B-4B97-B27A-1E02FBC4405E}" type="sibTrans" cxnId="{6897825E-FE7D-4BF0-A9D6-7103F67B8522}">
      <dgm:prSet/>
      <dgm:spPr/>
      <dgm:t>
        <a:bodyPr/>
        <a:lstStyle/>
        <a:p>
          <a:endParaRPr lang="it-IT"/>
        </a:p>
      </dgm:t>
    </dgm:pt>
    <dgm:pt modelId="{6C85DC61-3ACC-4522-B600-E5F022986ED7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4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Formalizzazione della 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condivisione (con appositi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strumenti) </a:t>
          </a:r>
          <a:endParaRPr lang="it-IT" sz="1400" b="1" dirty="0">
            <a:solidFill>
              <a:schemeClr val="accent1"/>
            </a:solidFill>
          </a:endParaRPr>
        </a:p>
      </dgm:t>
    </dgm:pt>
    <dgm:pt modelId="{8EAC0061-B0A4-4CCF-A44B-3621E6D0A54B}" type="parTrans" cxnId="{B3B835FA-9690-408A-9BD4-9FCAD83F6D80}">
      <dgm:prSet/>
      <dgm:spPr/>
      <dgm:t>
        <a:bodyPr/>
        <a:lstStyle/>
        <a:p>
          <a:endParaRPr lang="it-IT"/>
        </a:p>
      </dgm:t>
    </dgm:pt>
    <dgm:pt modelId="{511CC809-372D-41E2-96F5-2F36611DD0DA}" type="sibTrans" cxnId="{B3B835FA-9690-408A-9BD4-9FCAD83F6D80}">
      <dgm:prSet/>
      <dgm:spPr/>
      <dgm:t>
        <a:bodyPr/>
        <a:lstStyle/>
        <a:p>
          <a:endParaRPr lang="it-IT"/>
        </a:p>
      </dgm:t>
    </dgm:pt>
    <dgm:pt modelId="{1C208E8C-D13C-468A-81DB-79922D5EDFCF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5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Avvio  strategia per la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comunicazione</a:t>
          </a:r>
        </a:p>
      </dgm:t>
    </dgm:pt>
    <dgm:pt modelId="{957039AB-CA1A-4AFD-859E-154F4DEBF527}" type="parTrans" cxnId="{DEF211D7-D1B9-491D-B1A6-293378679275}">
      <dgm:prSet/>
      <dgm:spPr/>
      <dgm:t>
        <a:bodyPr/>
        <a:lstStyle/>
        <a:p>
          <a:endParaRPr lang="it-IT"/>
        </a:p>
      </dgm:t>
    </dgm:pt>
    <dgm:pt modelId="{3C4F8C09-20F9-4991-92C5-6F766EBD406E}" type="sibTrans" cxnId="{DEF211D7-D1B9-491D-B1A6-293378679275}">
      <dgm:prSet/>
      <dgm:spPr/>
      <dgm:t>
        <a:bodyPr/>
        <a:lstStyle/>
        <a:p>
          <a:endParaRPr lang="it-IT"/>
        </a:p>
      </dgm:t>
    </dgm:pt>
    <dgm:pt modelId="{C968E210-BB32-431D-8824-0EC0C3AF4FDC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6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Costituzione di  una Unità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tecnica con funzioni di 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indirizzo e coordinamento, 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monitoraggio e valutazione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della Strategia</a:t>
          </a:r>
        </a:p>
      </dgm:t>
    </dgm:pt>
    <dgm:pt modelId="{5331B12E-8184-4B3D-B50D-FBBD08DC3627}" type="parTrans" cxnId="{1C90699B-20A0-4D26-AEF3-29A5C62F94DB}">
      <dgm:prSet/>
      <dgm:spPr/>
      <dgm:t>
        <a:bodyPr/>
        <a:lstStyle/>
        <a:p>
          <a:endParaRPr lang="it-IT"/>
        </a:p>
      </dgm:t>
    </dgm:pt>
    <dgm:pt modelId="{66A15AD4-475E-46F8-B414-E9103C1FB760}" type="sibTrans" cxnId="{1C90699B-20A0-4D26-AEF3-29A5C62F94DB}">
      <dgm:prSet/>
      <dgm:spPr/>
      <dgm:t>
        <a:bodyPr/>
        <a:lstStyle/>
        <a:p>
          <a:endParaRPr lang="it-IT"/>
        </a:p>
      </dgm:t>
    </dgm:pt>
    <dgm:pt modelId="{E061F05B-A45A-4F8C-AAE3-0AA46C078AD9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7.Costituzione del Gruppo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chemeClr val="accent1"/>
              </a:solidFill>
            </a:rPr>
            <a:t>   di Pilotaggio</a:t>
          </a:r>
        </a:p>
      </dgm:t>
    </dgm:pt>
    <dgm:pt modelId="{16270F7E-6D1A-4187-89CC-154F4CC5750B}" type="parTrans" cxnId="{5B7572E8-4AE9-4633-8B55-68F16E43F504}">
      <dgm:prSet/>
      <dgm:spPr/>
      <dgm:t>
        <a:bodyPr/>
        <a:lstStyle/>
        <a:p>
          <a:endParaRPr lang="it-IT"/>
        </a:p>
      </dgm:t>
    </dgm:pt>
    <dgm:pt modelId="{89C05BD0-582D-4EFE-9EDB-BEC38AD8A19E}" type="sibTrans" cxnId="{5B7572E8-4AE9-4633-8B55-68F16E43F504}">
      <dgm:prSet/>
      <dgm:spPr/>
      <dgm:t>
        <a:bodyPr/>
        <a:lstStyle/>
        <a:p>
          <a:endParaRPr lang="it-IT"/>
        </a:p>
      </dgm:t>
    </dgm:pt>
    <dgm:pt modelId="{54DD2237-D68B-4BCA-B587-F38FAC87CED2}" type="pres">
      <dgm:prSet presAssocID="{3C448BFD-0757-4526-824B-930CC0898245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it-IT"/>
        </a:p>
      </dgm:t>
    </dgm:pt>
    <dgm:pt modelId="{A783BA33-683E-4A38-B973-0062F99E6EF7}" type="pres">
      <dgm:prSet presAssocID="{AC32D306-F587-4CB9-835C-CB1C93D72DE3}" presName="compNode" presStyleCnt="0"/>
      <dgm:spPr/>
      <dgm:t>
        <a:bodyPr/>
        <a:lstStyle/>
        <a:p>
          <a:endParaRPr lang="it-IT"/>
        </a:p>
      </dgm:t>
    </dgm:pt>
    <dgm:pt modelId="{D7657D27-9A10-4917-95ED-E3951F569930}" type="pres">
      <dgm:prSet presAssocID="{AC32D306-F587-4CB9-835C-CB1C93D72DE3}" presName="dummyConnPt" presStyleCnt="0"/>
      <dgm:spPr/>
      <dgm:t>
        <a:bodyPr/>
        <a:lstStyle/>
        <a:p>
          <a:endParaRPr lang="it-IT"/>
        </a:p>
      </dgm:t>
    </dgm:pt>
    <dgm:pt modelId="{21061A77-D165-43D5-9ED8-B5EB9DDB2753}" type="pres">
      <dgm:prSet presAssocID="{AC32D306-F587-4CB9-835C-CB1C93D72DE3}" presName="node" presStyleLbl="node1" presStyleIdx="0" presStyleCnt="7" custScaleX="211759" custScaleY="2380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CA28F2D-F759-4636-ACBD-8466D60D4E17}" type="pres">
      <dgm:prSet presAssocID="{B16A180A-39BC-4A8E-AF29-C5D023E10D29}" presName="sibTrans" presStyleLbl="bgSibTrans2D1" presStyleIdx="0" presStyleCnt="6"/>
      <dgm:spPr/>
      <dgm:t>
        <a:bodyPr/>
        <a:lstStyle/>
        <a:p>
          <a:endParaRPr lang="it-IT"/>
        </a:p>
      </dgm:t>
    </dgm:pt>
    <dgm:pt modelId="{965985CA-6772-4672-9E5D-DB2341024212}" type="pres">
      <dgm:prSet presAssocID="{5178DB71-92E8-4E6E-90FB-FCABDCA37DAD}" presName="compNode" presStyleCnt="0"/>
      <dgm:spPr/>
      <dgm:t>
        <a:bodyPr/>
        <a:lstStyle/>
        <a:p>
          <a:endParaRPr lang="it-IT"/>
        </a:p>
      </dgm:t>
    </dgm:pt>
    <dgm:pt modelId="{234B818D-D6BE-4086-8C93-6630BF61A9B9}" type="pres">
      <dgm:prSet presAssocID="{5178DB71-92E8-4E6E-90FB-FCABDCA37DAD}" presName="dummyConnPt" presStyleCnt="0"/>
      <dgm:spPr/>
      <dgm:t>
        <a:bodyPr/>
        <a:lstStyle/>
        <a:p>
          <a:endParaRPr lang="it-IT"/>
        </a:p>
      </dgm:t>
    </dgm:pt>
    <dgm:pt modelId="{CAD84E32-EB4D-4F6E-9190-AC855B3EA2A5}" type="pres">
      <dgm:prSet presAssocID="{5178DB71-92E8-4E6E-90FB-FCABDCA37DAD}" presName="node" presStyleLbl="node1" presStyleIdx="1" presStyleCnt="7" custScaleX="244567" custScaleY="14956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FE62B99-C380-4A7D-A81E-0B836ACE2D97}" type="pres">
      <dgm:prSet presAssocID="{CA6F4989-C138-40A9-8AF5-A514917E80A6}" presName="sibTrans" presStyleLbl="bgSibTrans2D1" presStyleIdx="1" presStyleCnt="6"/>
      <dgm:spPr/>
      <dgm:t>
        <a:bodyPr/>
        <a:lstStyle/>
        <a:p>
          <a:endParaRPr lang="it-IT"/>
        </a:p>
      </dgm:t>
    </dgm:pt>
    <dgm:pt modelId="{5E258E68-2A87-4E6E-8E81-E1D05F73E9CB}" type="pres">
      <dgm:prSet presAssocID="{B8C2C0D2-FDDA-4FAB-A4E3-2B18589E9C35}" presName="compNode" presStyleCnt="0"/>
      <dgm:spPr/>
      <dgm:t>
        <a:bodyPr/>
        <a:lstStyle/>
        <a:p>
          <a:endParaRPr lang="it-IT"/>
        </a:p>
      </dgm:t>
    </dgm:pt>
    <dgm:pt modelId="{E081CF10-D4E2-404A-8260-B27F0747E159}" type="pres">
      <dgm:prSet presAssocID="{B8C2C0D2-FDDA-4FAB-A4E3-2B18589E9C35}" presName="dummyConnPt" presStyleCnt="0"/>
      <dgm:spPr/>
      <dgm:t>
        <a:bodyPr/>
        <a:lstStyle/>
        <a:p>
          <a:endParaRPr lang="it-IT"/>
        </a:p>
      </dgm:t>
    </dgm:pt>
    <dgm:pt modelId="{D4C33AB0-25CA-4969-A8C5-FD5F197A3E20}" type="pres">
      <dgm:prSet presAssocID="{B8C2C0D2-FDDA-4FAB-A4E3-2B18589E9C35}" presName="node" presStyleLbl="node1" presStyleIdx="2" presStyleCnt="7" custScaleX="254973" custScaleY="24638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BCD11DB-F453-4B2F-B9D0-13AA9F8F954B}" type="pres">
      <dgm:prSet presAssocID="{211F9C3C-982B-4B97-B27A-1E02FBC4405E}" presName="sibTrans" presStyleLbl="bgSibTrans2D1" presStyleIdx="2" presStyleCnt="6"/>
      <dgm:spPr/>
      <dgm:t>
        <a:bodyPr/>
        <a:lstStyle/>
        <a:p>
          <a:endParaRPr lang="it-IT"/>
        </a:p>
      </dgm:t>
    </dgm:pt>
    <dgm:pt modelId="{F3465343-1F97-406F-8425-9E9BB5B849E4}" type="pres">
      <dgm:prSet presAssocID="{6C85DC61-3ACC-4522-B600-E5F022986ED7}" presName="compNode" presStyleCnt="0"/>
      <dgm:spPr/>
      <dgm:t>
        <a:bodyPr/>
        <a:lstStyle/>
        <a:p>
          <a:endParaRPr lang="it-IT"/>
        </a:p>
      </dgm:t>
    </dgm:pt>
    <dgm:pt modelId="{13055E65-0F93-4AAA-81AD-E9A6E4718EB0}" type="pres">
      <dgm:prSet presAssocID="{6C85DC61-3ACC-4522-B600-E5F022986ED7}" presName="dummyConnPt" presStyleCnt="0"/>
      <dgm:spPr/>
      <dgm:t>
        <a:bodyPr/>
        <a:lstStyle/>
        <a:p>
          <a:endParaRPr lang="it-IT"/>
        </a:p>
      </dgm:t>
    </dgm:pt>
    <dgm:pt modelId="{C5C7BDE0-612E-411D-8AB9-89A47964221E}" type="pres">
      <dgm:prSet presAssocID="{6C85DC61-3ACC-4522-B600-E5F022986ED7}" presName="node" presStyleLbl="node1" presStyleIdx="3" presStyleCnt="7" custScaleX="303919" custScaleY="20740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D20F1A6-36D0-4E01-9A27-C5A6895D97F1}" type="pres">
      <dgm:prSet presAssocID="{511CC809-372D-41E2-96F5-2F36611DD0DA}" presName="sibTrans" presStyleLbl="bgSibTrans2D1" presStyleIdx="3" presStyleCnt="6"/>
      <dgm:spPr/>
      <dgm:t>
        <a:bodyPr/>
        <a:lstStyle/>
        <a:p>
          <a:endParaRPr lang="it-IT"/>
        </a:p>
      </dgm:t>
    </dgm:pt>
    <dgm:pt modelId="{DA27399E-6C27-476A-BC0A-F369CAEA63F0}" type="pres">
      <dgm:prSet presAssocID="{1C208E8C-D13C-468A-81DB-79922D5EDFCF}" presName="compNode" presStyleCnt="0"/>
      <dgm:spPr/>
      <dgm:t>
        <a:bodyPr/>
        <a:lstStyle/>
        <a:p>
          <a:endParaRPr lang="it-IT"/>
        </a:p>
      </dgm:t>
    </dgm:pt>
    <dgm:pt modelId="{DE5D780A-6EE0-4F41-9E5F-7E3AB7BF16CF}" type="pres">
      <dgm:prSet presAssocID="{1C208E8C-D13C-468A-81DB-79922D5EDFCF}" presName="dummyConnPt" presStyleCnt="0"/>
      <dgm:spPr/>
      <dgm:t>
        <a:bodyPr/>
        <a:lstStyle/>
        <a:p>
          <a:endParaRPr lang="it-IT"/>
        </a:p>
      </dgm:t>
    </dgm:pt>
    <dgm:pt modelId="{238DA9E9-3C12-47A7-AF1C-6EFA3B6BFACF}" type="pres">
      <dgm:prSet presAssocID="{1C208E8C-D13C-468A-81DB-79922D5EDFCF}" presName="node" presStyleLbl="node1" presStyleIdx="4" presStyleCnt="7" custScaleX="339830" custScaleY="17881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38425E9-A09D-45A4-86DE-3B871D235AAB}" type="pres">
      <dgm:prSet presAssocID="{3C4F8C09-20F9-4991-92C5-6F766EBD406E}" presName="sibTrans" presStyleLbl="bgSibTrans2D1" presStyleIdx="4" presStyleCnt="6"/>
      <dgm:spPr/>
      <dgm:t>
        <a:bodyPr/>
        <a:lstStyle/>
        <a:p>
          <a:endParaRPr lang="it-IT"/>
        </a:p>
      </dgm:t>
    </dgm:pt>
    <dgm:pt modelId="{2C650BFA-FDD2-4ABB-A762-11AA5CF9FA72}" type="pres">
      <dgm:prSet presAssocID="{C968E210-BB32-431D-8824-0EC0C3AF4FDC}" presName="compNode" presStyleCnt="0"/>
      <dgm:spPr/>
      <dgm:t>
        <a:bodyPr/>
        <a:lstStyle/>
        <a:p>
          <a:endParaRPr lang="it-IT"/>
        </a:p>
      </dgm:t>
    </dgm:pt>
    <dgm:pt modelId="{C3081BD4-99CD-483A-AB88-BE97BB6E43C7}" type="pres">
      <dgm:prSet presAssocID="{C968E210-BB32-431D-8824-0EC0C3AF4FDC}" presName="dummyConnPt" presStyleCnt="0"/>
      <dgm:spPr/>
      <dgm:t>
        <a:bodyPr/>
        <a:lstStyle/>
        <a:p>
          <a:endParaRPr lang="it-IT"/>
        </a:p>
      </dgm:t>
    </dgm:pt>
    <dgm:pt modelId="{F7A22B34-E67D-452E-B7A3-670E43080D52}" type="pres">
      <dgm:prSet presAssocID="{C968E210-BB32-431D-8824-0EC0C3AF4FDC}" presName="node" presStyleLbl="node1" presStyleIdx="5" presStyleCnt="7" custScaleX="305646" custScaleY="25449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2DC82F0-E497-49EB-AA87-BC9FF86E52AE}" type="pres">
      <dgm:prSet presAssocID="{66A15AD4-475E-46F8-B414-E9103C1FB760}" presName="sibTrans" presStyleLbl="bgSibTrans2D1" presStyleIdx="5" presStyleCnt="6"/>
      <dgm:spPr/>
      <dgm:t>
        <a:bodyPr/>
        <a:lstStyle/>
        <a:p>
          <a:endParaRPr lang="it-IT"/>
        </a:p>
      </dgm:t>
    </dgm:pt>
    <dgm:pt modelId="{3730F0D5-A128-4FC6-AD9C-3FA4B4A5738B}" type="pres">
      <dgm:prSet presAssocID="{E061F05B-A45A-4F8C-AAE3-0AA46C078AD9}" presName="compNode" presStyleCnt="0"/>
      <dgm:spPr/>
      <dgm:t>
        <a:bodyPr/>
        <a:lstStyle/>
        <a:p>
          <a:endParaRPr lang="it-IT"/>
        </a:p>
      </dgm:t>
    </dgm:pt>
    <dgm:pt modelId="{656FECEE-8AC6-4F4F-8470-98E16552EB61}" type="pres">
      <dgm:prSet presAssocID="{E061F05B-A45A-4F8C-AAE3-0AA46C078AD9}" presName="dummyConnPt" presStyleCnt="0"/>
      <dgm:spPr/>
      <dgm:t>
        <a:bodyPr/>
        <a:lstStyle/>
        <a:p>
          <a:endParaRPr lang="it-IT"/>
        </a:p>
      </dgm:t>
    </dgm:pt>
    <dgm:pt modelId="{6C2FB6B5-23EA-4C6B-B472-9E5490D7D680}" type="pres">
      <dgm:prSet presAssocID="{E061F05B-A45A-4F8C-AAE3-0AA46C078AD9}" presName="node" presStyleLbl="node1" presStyleIdx="6" presStyleCnt="7" custScaleX="266696" custScaleY="2896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B3B835FA-9690-408A-9BD4-9FCAD83F6D80}" srcId="{3C448BFD-0757-4526-824B-930CC0898245}" destId="{6C85DC61-3ACC-4522-B600-E5F022986ED7}" srcOrd="3" destOrd="0" parTransId="{8EAC0061-B0A4-4CCF-A44B-3621E6D0A54B}" sibTransId="{511CC809-372D-41E2-96F5-2F36611DD0DA}"/>
    <dgm:cxn modelId="{6897825E-FE7D-4BF0-A9D6-7103F67B8522}" srcId="{3C448BFD-0757-4526-824B-930CC0898245}" destId="{B8C2C0D2-FDDA-4FAB-A4E3-2B18589E9C35}" srcOrd="2" destOrd="0" parTransId="{7902D07F-1689-4333-ADBC-08091F901300}" sibTransId="{211F9C3C-982B-4B97-B27A-1E02FBC4405E}"/>
    <dgm:cxn modelId="{B16CF324-CBC7-44FC-A994-BFF77FB1B073}" type="presOf" srcId="{C968E210-BB32-431D-8824-0EC0C3AF4FDC}" destId="{F7A22B34-E67D-452E-B7A3-670E43080D52}" srcOrd="0" destOrd="0" presId="urn:microsoft.com/office/officeart/2005/8/layout/bProcess4"/>
    <dgm:cxn modelId="{22C6BC56-2C52-4929-833C-834550999EBB}" type="presOf" srcId="{6C85DC61-3ACC-4522-B600-E5F022986ED7}" destId="{C5C7BDE0-612E-411D-8AB9-89A47964221E}" srcOrd="0" destOrd="0" presId="urn:microsoft.com/office/officeart/2005/8/layout/bProcess4"/>
    <dgm:cxn modelId="{B7A4BE70-6830-49E8-A176-684276357E8C}" type="presOf" srcId="{B16A180A-39BC-4A8E-AF29-C5D023E10D29}" destId="{4CA28F2D-F759-4636-ACBD-8466D60D4E17}" srcOrd="0" destOrd="0" presId="urn:microsoft.com/office/officeart/2005/8/layout/bProcess4"/>
    <dgm:cxn modelId="{71593942-5520-489A-BCAA-B9EF37EDB689}" srcId="{3C448BFD-0757-4526-824B-930CC0898245}" destId="{AC32D306-F587-4CB9-835C-CB1C93D72DE3}" srcOrd="0" destOrd="0" parTransId="{B20F7F9E-EF1F-4DD8-ABB2-53771A1A10E3}" sibTransId="{B16A180A-39BC-4A8E-AF29-C5D023E10D29}"/>
    <dgm:cxn modelId="{77815345-3D7C-42CF-A2E2-1F402EB6259C}" type="presOf" srcId="{211F9C3C-982B-4B97-B27A-1E02FBC4405E}" destId="{2BCD11DB-F453-4B2F-B9D0-13AA9F8F954B}" srcOrd="0" destOrd="0" presId="urn:microsoft.com/office/officeart/2005/8/layout/bProcess4"/>
    <dgm:cxn modelId="{9B908711-3BB7-47B9-9E6A-130CA9E60A49}" type="presOf" srcId="{CA6F4989-C138-40A9-8AF5-A514917E80A6}" destId="{AFE62B99-C380-4A7D-A81E-0B836ACE2D97}" srcOrd="0" destOrd="0" presId="urn:microsoft.com/office/officeart/2005/8/layout/bProcess4"/>
    <dgm:cxn modelId="{44A9832A-1556-473D-9821-AF7A9BF3B46E}" type="presOf" srcId="{3C4F8C09-20F9-4991-92C5-6F766EBD406E}" destId="{F38425E9-A09D-45A4-86DE-3B871D235AAB}" srcOrd="0" destOrd="0" presId="urn:microsoft.com/office/officeart/2005/8/layout/bProcess4"/>
    <dgm:cxn modelId="{1C90699B-20A0-4D26-AEF3-29A5C62F94DB}" srcId="{3C448BFD-0757-4526-824B-930CC0898245}" destId="{C968E210-BB32-431D-8824-0EC0C3AF4FDC}" srcOrd="5" destOrd="0" parTransId="{5331B12E-8184-4B3D-B50D-FBBD08DC3627}" sibTransId="{66A15AD4-475E-46F8-B414-E9103C1FB760}"/>
    <dgm:cxn modelId="{DEF211D7-D1B9-491D-B1A6-293378679275}" srcId="{3C448BFD-0757-4526-824B-930CC0898245}" destId="{1C208E8C-D13C-468A-81DB-79922D5EDFCF}" srcOrd="4" destOrd="0" parTransId="{957039AB-CA1A-4AFD-859E-154F4DEBF527}" sibTransId="{3C4F8C09-20F9-4991-92C5-6F766EBD406E}"/>
    <dgm:cxn modelId="{0FF7C9F3-78AF-4072-B6A6-9B7359F4E0DC}" type="presOf" srcId="{B8C2C0D2-FDDA-4FAB-A4E3-2B18589E9C35}" destId="{D4C33AB0-25CA-4969-A8C5-FD5F197A3E20}" srcOrd="0" destOrd="0" presId="urn:microsoft.com/office/officeart/2005/8/layout/bProcess4"/>
    <dgm:cxn modelId="{58177548-65F6-4C07-BC39-C7BB4C8197D4}" type="presOf" srcId="{AC32D306-F587-4CB9-835C-CB1C93D72DE3}" destId="{21061A77-D165-43D5-9ED8-B5EB9DDB2753}" srcOrd="0" destOrd="0" presId="urn:microsoft.com/office/officeart/2005/8/layout/bProcess4"/>
    <dgm:cxn modelId="{1383E022-21B6-4AB3-A55F-94557F5BD9CA}" srcId="{3C448BFD-0757-4526-824B-930CC0898245}" destId="{5178DB71-92E8-4E6E-90FB-FCABDCA37DAD}" srcOrd="1" destOrd="0" parTransId="{A79728ED-4D5B-48E8-A395-AA1E8635C4CF}" sibTransId="{CA6F4989-C138-40A9-8AF5-A514917E80A6}"/>
    <dgm:cxn modelId="{C52E623C-AD5E-4854-9ED2-FFBD5B965DFD}" type="presOf" srcId="{E061F05B-A45A-4F8C-AAE3-0AA46C078AD9}" destId="{6C2FB6B5-23EA-4C6B-B472-9E5490D7D680}" srcOrd="0" destOrd="0" presId="urn:microsoft.com/office/officeart/2005/8/layout/bProcess4"/>
    <dgm:cxn modelId="{EC44D214-EA68-47A7-BBFD-0EA3F33FF695}" type="presOf" srcId="{66A15AD4-475E-46F8-B414-E9103C1FB760}" destId="{A2DC82F0-E497-49EB-AA87-BC9FF86E52AE}" srcOrd="0" destOrd="0" presId="urn:microsoft.com/office/officeart/2005/8/layout/bProcess4"/>
    <dgm:cxn modelId="{BB564C7E-619B-435F-8EBA-41FF06C85514}" type="presOf" srcId="{5178DB71-92E8-4E6E-90FB-FCABDCA37DAD}" destId="{CAD84E32-EB4D-4F6E-9190-AC855B3EA2A5}" srcOrd="0" destOrd="0" presId="urn:microsoft.com/office/officeart/2005/8/layout/bProcess4"/>
    <dgm:cxn modelId="{1C01815C-6A2C-408D-93EB-DA9D79ABB45D}" type="presOf" srcId="{3C448BFD-0757-4526-824B-930CC0898245}" destId="{54DD2237-D68B-4BCA-B587-F38FAC87CED2}" srcOrd="0" destOrd="0" presId="urn:microsoft.com/office/officeart/2005/8/layout/bProcess4"/>
    <dgm:cxn modelId="{4A9E44CD-BD34-40DC-971A-C1AA5A26BF04}" type="presOf" srcId="{1C208E8C-D13C-468A-81DB-79922D5EDFCF}" destId="{238DA9E9-3C12-47A7-AF1C-6EFA3B6BFACF}" srcOrd="0" destOrd="0" presId="urn:microsoft.com/office/officeart/2005/8/layout/bProcess4"/>
    <dgm:cxn modelId="{98E392BB-5117-440B-9345-AE0300FB654A}" type="presOf" srcId="{511CC809-372D-41E2-96F5-2F36611DD0DA}" destId="{9D20F1A6-36D0-4E01-9A27-C5A6895D97F1}" srcOrd="0" destOrd="0" presId="urn:microsoft.com/office/officeart/2005/8/layout/bProcess4"/>
    <dgm:cxn modelId="{5B7572E8-4AE9-4633-8B55-68F16E43F504}" srcId="{3C448BFD-0757-4526-824B-930CC0898245}" destId="{E061F05B-A45A-4F8C-AAE3-0AA46C078AD9}" srcOrd="6" destOrd="0" parTransId="{16270F7E-6D1A-4187-89CC-154F4CC5750B}" sibTransId="{89C05BD0-582D-4EFE-9EDB-BEC38AD8A19E}"/>
    <dgm:cxn modelId="{B514870B-3F57-4EEA-BF4B-F1FF5B31ED08}" type="presParOf" srcId="{54DD2237-D68B-4BCA-B587-F38FAC87CED2}" destId="{A783BA33-683E-4A38-B973-0062F99E6EF7}" srcOrd="0" destOrd="0" presId="urn:microsoft.com/office/officeart/2005/8/layout/bProcess4"/>
    <dgm:cxn modelId="{536F3B93-6C3B-41D9-A149-16FFCFDBA379}" type="presParOf" srcId="{A783BA33-683E-4A38-B973-0062F99E6EF7}" destId="{D7657D27-9A10-4917-95ED-E3951F569930}" srcOrd="0" destOrd="0" presId="urn:microsoft.com/office/officeart/2005/8/layout/bProcess4"/>
    <dgm:cxn modelId="{F66252C0-35F4-4427-A68E-6A60502F38E3}" type="presParOf" srcId="{A783BA33-683E-4A38-B973-0062F99E6EF7}" destId="{21061A77-D165-43D5-9ED8-B5EB9DDB2753}" srcOrd="1" destOrd="0" presId="urn:microsoft.com/office/officeart/2005/8/layout/bProcess4"/>
    <dgm:cxn modelId="{2B31D7F0-DFF8-4AFE-AD0F-5AD2700665E0}" type="presParOf" srcId="{54DD2237-D68B-4BCA-B587-F38FAC87CED2}" destId="{4CA28F2D-F759-4636-ACBD-8466D60D4E17}" srcOrd="1" destOrd="0" presId="urn:microsoft.com/office/officeart/2005/8/layout/bProcess4"/>
    <dgm:cxn modelId="{6E0709BD-C922-41CE-8CA6-A637742B4078}" type="presParOf" srcId="{54DD2237-D68B-4BCA-B587-F38FAC87CED2}" destId="{965985CA-6772-4672-9E5D-DB2341024212}" srcOrd="2" destOrd="0" presId="urn:microsoft.com/office/officeart/2005/8/layout/bProcess4"/>
    <dgm:cxn modelId="{17651A42-EEF1-45E9-AAB1-076C939101EC}" type="presParOf" srcId="{965985CA-6772-4672-9E5D-DB2341024212}" destId="{234B818D-D6BE-4086-8C93-6630BF61A9B9}" srcOrd="0" destOrd="0" presId="urn:microsoft.com/office/officeart/2005/8/layout/bProcess4"/>
    <dgm:cxn modelId="{08D4DEFC-4A07-4CDE-8726-95F925ABDBFF}" type="presParOf" srcId="{965985CA-6772-4672-9E5D-DB2341024212}" destId="{CAD84E32-EB4D-4F6E-9190-AC855B3EA2A5}" srcOrd="1" destOrd="0" presId="urn:microsoft.com/office/officeart/2005/8/layout/bProcess4"/>
    <dgm:cxn modelId="{53A1F6D4-A668-433C-B671-EF943E675387}" type="presParOf" srcId="{54DD2237-D68B-4BCA-B587-F38FAC87CED2}" destId="{AFE62B99-C380-4A7D-A81E-0B836ACE2D97}" srcOrd="3" destOrd="0" presId="urn:microsoft.com/office/officeart/2005/8/layout/bProcess4"/>
    <dgm:cxn modelId="{9B34CEC2-CA64-4D1D-BBE8-2F5A37E4486A}" type="presParOf" srcId="{54DD2237-D68B-4BCA-B587-F38FAC87CED2}" destId="{5E258E68-2A87-4E6E-8E81-E1D05F73E9CB}" srcOrd="4" destOrd="0" presId="urn:microsoft.com/office/officeart/2005/8/layout/bProcess4"/>
    <dgm:cxn modelId="{7BE3E541-D119-45A7-A62C-9E587553AB3E}" type="presParOf" srcId="{5E258E68-2A87-4E6E-8E81-E1D05F73E9CB}" destId="{E081CF10-D4E2-404A-8260-B27F0747E159}" srcOrd="0" destOrd="0" presId="urn:microsoft.com/office/officeart/2005/8/layout/bProcess4"/>
    <dgm:cxn modelId="{088550F5-A44D-40D3-AA48-C50FBA178206}" type="presParOf" srcId="{5E258E68-2A87-4E6E-8E81-E1D05F73E9CB}" destId="{D4C33AB0-25CA-4969-A8C5-FD5F197A3E20}" srcOrd="1" destOrd="0" presId="urn:microsoft.com/office/officeart/2005/8/layout/bProcess4"/>
    <dgm:cxn modelId="{758F5B46-5DF5-42F6-8E36-FD2EC6D70B85}" type="presParOf" srcId="{54DD2237-D68B-4BCA-B587-F38FAC87CED2}" destId="{2BCD11DB-F453-4B2F-B9D0-13AA9F8F954B}" srcOrd="5" destOrd="0" presId="urn:microsoft.com/office/officeart/2005/8/layout/bProcess4"/>
    <dgm:cxn modelId="{E0536093-F819-47B0-82AC-7452A8069A97}" type="presParOf" srcId="{54DD2237-D68B-4BCA-B587-F38FAC87CED2}" destId="{F3465343-1F97-406F-8425-9E9BB5B849E4}" srcOrd="6" destOrd="0" presId="urn:microsoft.com/office/officeart/2005/8/layout/bProcess4"/>
    <dgm:cxn modelId="{403C8F18-41DC-472B-8303-C2293F635CCE}" type="presParOf" srcId="{F3465343-1F97-406F-8425-9E9BB5B849E4}" destId="{13055E65-0F93-4AAA-81AD-E9A6E4718EB0}" srcOrd="0" destOrd="0" presId="urn:microsoft.com/office/officeart/2005/8/layout/bProcess4"/>
    <dgm:cxn modelId="{436810CE-EFFE-4382-B4F8-AB9476C535C4}" type="presParOf" srcId="{F3465343-1F97-406F-8425-9E9BB5B849E4}" destId="{C5C7BDE0-612E-411D-8AB9-89A47964221E}" srcOrd="1" destOrd="0" presId="urn:microsoft.com/office/officeart/2005/8/layout/bProcess4"/>
    <dgm:cxn modelId="{B9C9E937-E786-4247-9BE7-A0C026F5C197}" type="presParOf" srcId="{54DD2237-D68B-4BCA-B587-F38FAC87CED2}" destId="{9D20F1A6-36D0-4E01-9A27-C5A6895D97F1}" srcOrd="7" destOrd="0" presId="urn:microsoft.com/office/officeart/2005/8/layout/bProcess4"/>
    <dgm:cxn modelId="{B8718A31-3A52-47B9-8D7F-40E75E051BA3}" type="presParOf" srcId="{54DD2237-D68B-4BCA-B587-F38FAC87CED2}" destId="{DA27399E-6C27-476A-BC0A-F369CAEA63F0}" srcOrd="8" destOrd="0" presId="urn:microsoft.com/office/officeart/2005/8/layout/bProcess4"/>
    <dgm:cxn modelId="{4EE70604-D76E-4107-96B4-A8CB44B18BB3}" type="presParOf" srcId="{DA27399E-6C27-476A-BC0A-F369CAEA63F0}" destId="{DE5D780A-6EE0-4F41-9E5F-7E3AB7BF16CF}" srcOrd="0" destOrd="0" presId="urn:microsoft.com/office/officeart/2005/8/layout/bProcess4"/>
    <dgm:cxn modelId="{3A9A47EF-5502-45F9-B50D-77CA9E5B271E}" type="presParOf" srcId="{DA27399E-6C27-476A-BC0A-F369CAEA63F0}" destId="{238DA9E9-3C12-47A7-AF1C-6EFA3B6BFACF}" srcOrd="1" destOrd="0" presId="urn:microsoft.com/office/officeart/2005/8/layout/bProcess4"/>
    <dgm:cxn modelId="{20737D50-EDE7-4D34-B692-F7C2C2DDD0F0}" type="presParOf" srcId="{54DD2237-D68B-4BCA-B587-F38FAC87CED2}" destId="{F38425E9-A09D-45A4-86DE-3B871D235AAB}" srcOrd="9" destOrd="0" presId="urn:microsoft.com/office/officeart/2005/8/layout/bProcess4"/>
    <dgm:cxn modelId="{92300F51-189A-4E32-B65F-0485BE44CAE1}" type="presParOf" srcId="{54DD2237-D68B-4BCA-B587-F38FAC87CED2}" destId="{2C650BFA-FDD2-4ABB-A762-11AA5CF9FA72}" srcOrd="10" destOrd="0" presId="urn:microsoft.com/office/officeart/2005/8/layout/bProcess4"/>
    <dgm:cxn modelId="{82E51435-526B-434E-B7F5-B819B8001863}" type="presParOf" srcId="{2C650BFA-FDD2-4ABB-A762-11AA5CF9FA72}" destId="{C3081BD4-99CD-483A-AB88-BE97BB6E43C7}" srcOrd="0" destOrd="0" presId="urn:microsoft.com/office/officeart/2005/8/layout/bProcess4"/>
    <dgm:cxn modelId="{707E2861-D2B7-4043-A6F0-84B1EABD1F66}" type="presParOf" srcId="{2C650BFA-FDD2-4ABB-A762-11AA5CF9FA72}" destId="{F7A22B34-E67D-452E-B7A3-670E43080D52}" srcOrd="1" destOrd="0" presId="urn:microsoft.com/office/officeart/2005/8/layout/bProcess4"/>
    <dgm:cxn modelId="{B118D209-C5E5-4D0B-95F7-62AD97CD834A}" type="presParOf" srcId="{54DD2237-D68B-4BCA-B587-F38FAC87CED2}" destId="{A2DC82F0-E497-49EB-AA87-BC9FF86E52AE}" srcOrd="11" destOrd="0" presId="urn:microsoft.com/office/officeart/2005/8/layout/bProcess4"/>
    <dgm:cxn modelId="{7581797E-503A-41F1-A786-B5CB2FA4F723}" type="presParOf" srcId="{54DD2237-D68B-4BCA-B587-F38FAC87CED2}" destId="{3730F0D5-A128-4FC6-AD9C-3FA4B4A5738B}" srcOrd="12" destOrd="0" presId="urn:microsoft.com/office/officeart/2005/8/layout/bProcess4"/>
    <dgm:cxn modelId="{2BDCE04C-9433-4519-846E-BC0188E4FFA9}" type="presParOf" srcId="{3730F0D5-A128-4FC6-AD9C-3FA4B4A5738B}" destId="{656FECEE-8AC6-4F4F-8470-98E16552EB61}" srcOrd="0" destOrd="0" presId="urn:microsoft.com/office/officeart/2005/8/layout/bProcess4"/>
    <dgm:cxn modelId="{D4190E8A-F468-48ED-AA8E-E2047B32F3A0}" type="presParOf" srcId="{3730F0D5-A128-4FC6-AD9C-3FA4B4A5738B}" destId="{6C2FB6B5-23EA-4C6B-B472-9E5490D7D680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45A60A9E-F327-4D1B-A2A6-269D07F7FB51}" type="doc">
      <dgm:prSet loTypeId="urn:microsoft.com/office/officeart/2008/layout/LinedList" loCatId="list" qsTypeId="urn:microsoft.com/office/officeart/2005/8/quickstyle/simple2" qsCatId="simple" csTypeId="urn:microsoft.com/office/officeart/2005/8/colors/colorful1#4" csCatId="colorful" phldr="1"/>
      <dgm:spPr/>
      <dgm:t>
        <a:bodyPr/>
        <a:lstStyle/>
        <a:p>
          <a:endParaRPr lang="it-IT"/>
        </a:p>
      </dgm:t>
    </dgm:pt>
    <dgm:pt modelId="{860BC524-CB4E-449F-9E17-7331014936FF}">
      <dgm:prSet custT="1"/>
      <dgm:spPr/>
      <dgm:t>
        <a:bodyPr/>
        <a:lstStyle/>
        <a:p>
          <a:pPr algn="ctr" rtl="0"/>
          <a:endParaRPr lang="it-IT" sz="2000" b="1" dirty="0">
            <a:solidFill>
              <a:srgbClr val="6699FF"/>
            </a:solidFill>
            <a:effectLst/>
            <a:latin typeface="Calibri" panose="020F0502020204030204" pitchFamily="34" charset="0"/>
          </a:endParaRPr>
        </a:p>
      </dgm:t>
    </dgm:pt>
    <dgm:pt modelId="{B98F86BA-F3F4-4C34-B165-4B6B932634A0}" type="parTrans" cxnId="{212ADEFA-454E-41BA-8921-005ECD16AB2B}">
      <dgm:prSet/>
      <dgm:spPr/>
      <dgm:t>
        <a:bodyPr/>
        <a:lstStyle/>
        <a:p>
          <a:endParaRPr lang="it-IT"/>
        </a:p>
      </dgm:t>
    </dgm:pt>
    <dgm:pt modelId="{C507B813-22B7-43D7-8E81-8A689C2BA308}" type="sibTrans" cxnId="{212ADEFA-454E-41BA-8921-005ECD16AB2B}">
      <dgm:prSet/>
      <dgm:spPr/>
      <dgm:t>
        <a:bodyPr/>
        <a:lstStyle/>
        <a:p>
          <a:endParaRPr lang="it-IT"/>
        </a:p>
      </dgm:t>
    </dgm:pt>
    <dgm:pt modelId="{7AFBEA0D-DAB9-45D9-BB84-A5C85C2C81FD}" type="pres">
      <dgm:prSet presAssocID="{45A60A9E-F327-4D1B-A2A6-269D07F7FB51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E237AE75-85E6-437A-8B56-910DD27A4ECE}" type="pres">
      <dgm:prSet presAssocID="{860BC524-CB4E-449F-9E17-7331014936FF}" presName="thickLine" presStyleLbl="alignNode1" presStyleIdx="0" presStyleCnt="1"/>
      <dgm:spPr/>
      <dgm:t>
        <a:bodyPr/>
        <a:lstStyle/>
        <a:p>
          <a:endParaRPr lang="it-IT"/>
        </a:p>
      </dgm:t>
    </dgm:pt>
    <dgm:pt modelId="{E5B5E04E-FCAE-4ABC-802A-9826F4A5AD51}" type="pres">
      <dgm:prSet presAssocID="{860BC524-CB4E-449F-9E17-7331014936FF}" presName="horz1" presStyleCnt="0"/>
      <dgm:spPr/>
      <dgm:t>
        <a:bodyPr/>
        <a:lstStyle/>
        <a:p>
          <a:endParaRPr lang="it-IT"/>
        </a:p>
      </dgm:t>
    </dgm:pt>
    <dgm:pt modelId="{8D8CE0C5-97D0-41BA-B185-D747D53A47F7}" type="pres">
      <dgm:prSet presAssocID="{860BC524-CB4E-449F-9E17-7331014936FF}" presName="tx1" presStyleLbl="revTx" presStyleIdx="0" presStyleCnt="1"/>
      <dgm:spPr/>
      <dgm:t>
        <a:bodyPr/>
        <a:lstStyle/>
        <a:p>
          <a:endParaRPr lang="it-IT"/>
        </a:p>
      </dgm:t>
    </dgm:pt>
    <dgm:pt modelId="{FBFC497C-9F20-4F14-9A7A-F7BDED199D3F}" type="pres">
      <dgm:prSet presAssocID="{860BC524-CB4E-449F-9E17-7331014936FF}" presName="vert1" presStyleCnt="0"/>
      <dgm:spPr/>
      <dgm:t>
        <a:bodyPr/>
        <a:lstStyle/>
        <a:p>
          <a:endParaRPr lang="it-IT"/>
        </a:p>
      </dgm:t>
    </dgm:pt>
  </dgm:ptLst>
  <dgm:cxnLst>
    <dgm:cxn modelId="{904E8A4F-7397-4FBB-8446-916ABDD5288F}" type="presOf" srcId="{860BC524-CB4E-449F-9E17-7331014936FF}" destId="{8D8CE0C5-97D0-41BA-B185-D747D53A47F7}" srcOrd="0" destOrd="0" presId="urn:microsoft.com/office/officeart/2008/layout/LinedList"/>
    <dgm:cxn modelId="{212ADEFA-454E-41BA-8921-005ECD16AB2B}" srcId="{45A60A9E-F327-4D1B-A2A6-269D07F7FB51}" destId="{860BC524-CB4E-449F-9E17-7331014936FF}" srcOrd="0" destOrd="0" parTransId="{B98F86BA-F3F4-4C34-B165-4B6B932634A0}" sibTransId="{C507B813-22B7-43D7-8E81-8A689C2BA308}"/>
    <dgm:cxn modelId="{967358A2-0078-47C0-BEE2-273110ECB040}" type="presOf" srcId="{45A60A9E-F327-4D1B-A2A6-269D07F7FB51}" destId="{7AFBEA0D-DAB9-45D9-BB84-A5C85C2C81FD}" srcOrd="0" destOrd="0" presId="urn:microsoft.com/office/officeart/2008/layout/LinedList"/>
    <dgm:cxn modelId="{BB6EAE90-E906-4E3A-B949-49A0D1056BD3}" type="presParOf" srcId="{7AFBEA0D-DAB9-45D9-BB84-A5C85C2C81FD}" destId="{E237AE75-85E6-437A-8B56-910DD27A4ECE}" srcOrd="0" destOrd="0" presId="urn:microsoft.com/office/officeart/2008/layout/LinedList"/>
    <dgm:cxn modelId="{A45738D8-3C01-45D1-BB9E-2BFBE533F6D6}" type="presParOf" srcId="{7AFBEA0D-DAB9-45D9-BB84-A5C85C2C81FD}" destId="{E5B5E04E-FCAE-4ABC-802A-9826F4A5AD51}" srcOrd="1" destOrd="0" presId="urn:microsoft.com/office/officeart/2008/layout/LinedList"/>
    <dgm:cxn modelId="{C9F2FACC-F0E9-4862-B898-61DA7A2F1FE0}" type="presParOf" srcId="{E5B5E04E-FCAE-4ABC-802A-9826F4A5AD51}" destId="{8D8CE0C5-97D0-41BA-B185-D747D53A47F7}" srcOrd="0" destOrd="0" presId="urn:microsoft.com/office/officeart/2008/layout/LinedList"/>
    <dgm:cxn modelId="{D89F3706-E4AE-4DDE-9344-33D843FD5ACD}" type="presParOf" srcId="{E5B5E04E-FCAE-4ABC-802A-9826F4A5AD51}" destId="{FBFC497C-9F20-4F14-9A7A-F7BDED199D3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42186144-FFE2-4B4C-AF12-1C1BBA0FC559}" type="doc">
      <dgm:prSet loTypeId="urn:microsoft.com/office/officeart/2005/8/layout/hList7#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it-IT"/>
        </a:p>
      </dgm:t>
    </dgm:pt>
    <dgm:pt modelId="{6CA20128-5E08-496E-A920-86907F555078}">
      <dgm:prSet custT="1"/>
      <dgm:spPr/>
      <dgm:t>
        <a:bodyPr/>
        <a:lstStyle/>
        <a:p>
          <a:pPr rtl="0"/>
          <a:endParaRPr lang="it-IT" sz="1400" b="1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rtl="0"/>
          <a:r>
            <a:rPr lang="it-IT" sz="14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COPERTA E CONDIVISIONE DI UNA DISTINTIVA SPECIALIZZAZIONE REGIONALE</a:t>
          </a:r>
        </a:p>
        <a:p>
          <a:pPr rtl="0"/>
          <a:r>
            <a:rPr lang="it-IT" sz="1300" dirty="0" smtClean="0"/>
            <a:t>Lettura delle </a:t>
          </a:r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pecifiche caratteristiche del territorio</a:t>
          </a:r>
          <a:r>
            <a:rPr lang="it-IT" sz="1300" dirty="0" smtClean="0"/>
            <a:t> e </a:t>
          </a:r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cesso di </a:t>
          </a:r>
          <a:r>
            <a:rPr lang="it-IT" sz="13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mpowerment</a:t>
          </a:r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dei diversi attori regionali dell’innovazione. </a:t>
          </a:r>
          <a:endParaRPr lang="it-IT" sz="1300" dirty="0" smtClean="0"/>
        </a:p>
        <a:p>
          <a:pPr rtl="0"/>
          <a:r>
            <a:rPr lang="it-IT" sz="13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a RIS3 Sicilia intende l‘INNOVAZIONE come  un processo multidimensionale e altamente interattivo di collaborazione tra diversi attori</a:t>
          </a:r>
          <a:r>
            <a:rPr lang="it-IT" sz="1200" dirty="0" smtClean="0">
              <a:solidFill>
                <a:srgbClr val="FFFF00"/>
              </a:solidFill>
            </a:rPr>
            <a:t>.</a:t>
          </a:r>
          <a:endParaRPr lang="it-IT" sz="1200" dirty="0">
            <a:solidFill>
              <a:srgbClr val="FFFF00"/>
            </a:solidFill>
          </a:endParaRPr>
        </a:p>
      </dgm:t>
    </dgm:pt>
    <dgm:pt modelId="{7CBD2ED3-783F-4541-99BF-4BA1556DBE27}" type="parTrans" cxnId="{D5D9F402-F900-4A0C-9107-DD72A9CD00DE}">
      <dgm:prSet/>
      <dgm:spPr/>
      <dgm:t>
        <a:bodyPr/>
        <a:lstStyle/>
        <a:p>
          <a:endParaRPr lang="it-IT"/>
        </a:p>
      </dgm:t>
    </dgm:pt>
    <dgm:pt modelId="{1CF86E63-BA62-4814-9489-580DD8C545E3}" type="sibTrans" cxnId="{D5D9F402-F900-4A0C-9107-DD72A9CD00DE}">
      <dgm:prSet/>
      <dgm:spPr/>
      <dgm:t>
        <a:bodyPr/>
        <a:lstStyle/>
        <a:p>
          <a:endParaRPr lang="it-IT"/>
        </a:p>
      </dgm:t>
    </dgm:pt>
    <dgm:pt modelId="{D4902039-27C0-4D3A-A74A-9290BBD893AC}">
      <dgm:prSet custT="1"/>
      <dgm:spPr/>
      <dgm:t>
        <a:bodyPr/>
        <a:lstStyle/>
        <a:p>
          <a:pPr rtl="0"/>
          <a:endParaRPr lang="it-IT" sz="1400" b="1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rtl="0"/>
          <a:endParaRPr lang="it-IT" sz="1400" b="1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rtl="0"/>
          <a:r>
            <a:rPr lang="it-IT" sz="14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DIVIDUAZIONE DELLE LEVE CHE MUOVONO LO SVILUPPO</a:t>
          </a:r>
        </a:p>
        <a:p>
          <a:pPr rtl="0"/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uolo chiave delle cosiddette tecnologie chiave abilitanti (Key Enabling Technologies – KETs). </a:t>
          </a:r>
        </a:p>
        <a:p>
          <a:pPr rtl="0"/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peramento dell’approccio basato sul tradizionale sostegno ai settori produttivi e alla ricerca </a:t>
          </a:r>
        </a:p>
      </dgm:t>
    </dgm:pt>
    <dgm:pt modelId="{714AF09A-1DD3-4FDE-9976-CA8774F8EE4A}" type="parTrans" cxnId="{BC49537D-A416-4FF1-A6D7-B13EDBA13FDE}">
      <dgm:prSet/>
      <dgm:spPr/>
      <dgm:t>
        <a:bodyPr/>
        <a:lstStyle/>
        <a:p>
          <a:endParaRPr lang="it-IT"/>
        </a:p>
      </dgm:t>
    </dgm:pt>
    <dgm:pt modelId="{217B802C-3C62-41AD-B23D-E6E896B28174}" type="sibTrans" cxnId="{BC49537D-A416-4FF1-A6D7-B13EDBA13FDE}">
      <dgm:prSet/>
      <dgm:spPr/>
      <dgm:t>
        <a:bodyPr/>
        <a:lstStyle/>
        <a:p>
          <a:endParaRPr lang="it-IT"/>
        </a:p>
      </dgm:t>
    </dgm:pt>
    <dgm:pt modelId="{E9EB10EC-045A-4DD1-AFDE-A782BCB5EB67}" type="pres">
      <dgm:prSet presAssocID="{42186144-FFE2-4B4C-AF12-1C1BBA0FC55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10E4646-191B-46B4-8568-08679650E7AC}" type="pres">
      <dgm:prSet presAssocID="{42186144-FFE2-4B4C-AF12-1C1BBA0FC559}" presName="fgShape" presStyleLbl="fgShp" presStyleIdx="0" presStyleCnt="1" custScaleX="103557" custLinFactNeighborX="-1581" custLinFactNeighborY="41026"/>
      <dgm:spPr/>
      <dgm:t>
        <a:bodyPr/>
        <a:lstStyle/>
        <a:p>
          <a:endParaRPr lang="it-IT"/>
        </a:p>
      </dgm:t>
    </dgm:pt>
    <dgm:pt modelId="{DFC2DE49-C4F7-4402-A216-D281789B7AE7}" type="pres">
      <dgm:prSet presAssocID="{42186144-FFE2-4B4C-AF12-1C1BBA0FC559}" presName="linComp" presStyleCnt="0"/>
      <dgm:spPr/>
      <dgm:t>
        <a:bodyPr/>
        <a:lstStyle/>
        <a:p>
          <a:endParaRPr lang="it-IT"/>
        </a:p>
      </dgm:t>
    </dgm:pt>
    <dgm:pt modelId="{92876CD0-F994-48ED-B42D-962AEB407CB8}" type="pres">
      <dgm:prSet presAssocID="{6CA20128-5E08-496E-A920-86907F555078}" presName="compNode" presStyleCnt="0"/>
      <dgm:spPr/>
      <dgm:t>
        <a:bodyPr/>
        <a:lstStyle/>
        <a:p>
          <a:endParaRPr lang="it-IT"/>
        </a:p>
      </dgm:t>
    </dgm:pt>
    <dgm:pt modelId="{4893B85D-E7EC-43EB-AD43-BE75F7C562F8}" type="pres">
      <dgm:prSet presAssocID="{6CA20128-5E08-496E-A920-86907F555078}" presName="bkgdShape" presStyleLbl="node1" presStyleIdx="0" presStyleCnt="2"/>
      <dgm:spPr/>
      <dgm:t>
        <a:bodyPr/>
        <a:lstStyle/>
        <a:p>
          <a:endParaRPr lang="it-IT"/>
        </a:p>
      </dgm:t>
    </dgm:pt>
    <dgm:pt modelId="{E5DBC89C-9976-4F5E-AA0D-B2438C6DC041}" type="pres">
      <dgm:prSet presAssocID="{6CA20128-5E08-496E-A920-86907F555078}" presName="nodeTx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D06D6EC-9F90-42FE-B2C3-BCAA3343CE2A}" type="pres">
      <dgm:prSet presAssocID="{6CA20128-5E08-496E-A920-86907F555078}" presName="invisiNode" presStyleLbl="node1" presStyleIdx="0" presStyleCnt="2"/>
      <dgm:spPr/>
      <dgm:t>
        <a:bodyPr/>
        <a:lstStyle/>
        <a:p>
          <a:endParaRPr lang="it-IT"/>
        </a:p>
      </dgm:t>
    </dgm:pt>
    <dgm:pt modelId="{D45867DB-5E57-4321-B95F-EF177612117D}" type="pres">
      <dgm:prSet presAssocID="{6CA20128-5E08-496E-A920-86907F555078}" presName="imagNode" presStyleLbl="fgImgPlace1" presStyleIdx="0" presStyleCnt="2"/>
      <dgm:spPr>
        <a:blipFill>
          <a:blip xmlns:r="http://schemas.openxmlformats.org/officeDocument/2006/relationships"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  <dgm:t>
        <a:bodyPr/>
        <a:lstStyle/>
        <a:p>
          <a:endParaRPr lang="it-IT"/>
        </a:p>
      </dgm:t>
    </dgm:pt>
    <dgm:pt modelId="{A4C0EED3-C0CF-4935-9B8F-10CA4F25283D}" type="pres">
      <dgm:prSet presAssocID="{1CF86E63-BA62-4814-9489-580DD8C545E3}" presName="sibTrans" presStyleLbl="sibTrans2D1" presStyleIdx="0" presStyleCnt="0"/>
      <dgm:spPr/>
      <dgm:t>
        <a:bodyPr/>
        <a:lstStyle/>
        <a:p>
          <a:endParaRPr lang="it-IT"/>
        </a:p>
      </dgm:t>
    </dgm:pt>
    <dgm:pt modelId="{6A5F5854-39DA-406F-B08D-D9D49CCAF460}" type="pres">
      <dgm:prSet presAssocID="{D4902039-27C0-4D3A-A74A-9290BBD893AC}" presName="compNode" presStyleCnt="0"/>
      <dgm:spPr/>
      <dgm:t>
        <a:bodyPr/>
        <a:lstStyle/>
        <a:p>
          <a:endParaRPr lang="it-IT"/>
        </a:p>
      </dgm:t>
    </dgm:pt>
    <dgm:pt modelId="{46D4FB9A-CA69-4FE6-AE01-D6BD5549E131}" type="pres">
      <dgm:prSet presAssocID="{D4902039-27C0-4D3A-A74A-9290BBD893AC}" presName="bkgdShape" presStyleLbl="node1" presStyleIdx="1" presStyleCnt="2" custLinFactNeighborX="1871"/>
      <dgm:spPr/>
      <dgm:t>
        <a:bodyPr/>
        <a:lstStyle/>
        <a:p>
          <a:endParaRPr lang="it-IT"/>
        </a:p>
      </dgm:t>
    </dgm:pt>
    <dgm:pt modelId="{8590A6B1-FBAE-48F8-9FBD-104522464602}" type="pres">
      <dgm:prSet presAssocID="{D4902039-27C0-4D3A-A74A-9290BBD893AC}" presName="nodeTx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2BD0F62-1430-4251-9367-F1817D788338}" type="pres">
      <dgm:prSet presAssocID="{D4902039-27C0-4D3A-A74A-9290BBD893AC}" presName="invisiNode" presStyleLbl="node1" presStyleIdx="1" presStyleCnt="2"/>
      <dgm:spPr/>
      <dgm:t>
        <a:bodyPr/>
        <a:lstStyle/>
        <a:p>
          <a:endParaRPr lang="it-IT"/>
        </a:p>
      </dgm:t>
    </dgm:pt>
    <dgm:pt modelId="{0884A0BC-1141-4228-BC39-52DFE7694685}" type="pres">
      <dgm:prSet presAssocID="{D4902039-27C0-4D3A-A74A-9290BBD893AC}" presName="imagNode" presStyleLbl="fgImgPlace1" presStyleIdx="1" presStyleCnt="2" custLinFactNeighborX="-402" custLinFactNeighborY="-2059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  <dgm:t>
        <a:bodyPr/>
        <a:lstStyle/>
        <a:p>
          <a:endParaRPr lang="it-IT"/>
        </a:p>
      </dgm:t>
    </dgm:pt>
  </dgm:ptLst>
  <dgm:cxnLst>
    <dgm:cxn modelId="{7580D7B4-82AB-4A28-8E0C-525018EA584C}" type="presOf" srcId="{42186144-FFE2-4B4C-AF12-1C1BBA0FC559}" destId="{E9EB10EC-045A-4DD1-AFDE-A782BCB5EB67}" srcOrd="0" destOrd="0" presId="urn:microsoft.com/office/officeart/2005/8/layout/hList7#1"/>
    <dgm:cxn modelId="{885F07D0-B8E1-47B4-B899-BB451F73F922}" type="presOf" srcId="{1CF86E63-BA62-4814-9489-580DD8C545E3}" destId="{A4C0EED3-C0CF-4935-9B8F-10CA4F25283D}" srcOrd="0" destOrd="0" presId="urn:microsoft.com/office/officeart/2005/8/layout/hList7#1"/>
    <dgm:cxn modelId="{2507EFE4-7148-4941-8BB1-7394179C3BF1}" type="presOf" srcId="{6CA20128-5E08-496E-A920-86907F555078}" destId="{E5DBC89C-9976-4F5E-AA0D-B2438C6DC041}" srcOrd="1" destOrd="0" presId="urn:microsoft.com/office/officeart/2005/8/layout/hList7#1"/>
    <dgm:cxn modelId="{D5D9F402-F900-4A0C-9107-DD72A9CD00DE}" srcId="{42186144-FFE2-4B4C-AF12-1C1BBA0FC559}" destId="{6CA20128-5E08-496E-A920-86907F555078}" srcOrd="0" destOrd="0" parTransId="{7CBD2ED3-783F-4541-99BF-4BA1556DBE27}" sibTransId="{1CF86E63-BA62-4814-9489-580DD8C545E3}"/>
    <dgm:cxn modelId="{98E3891F-214E-44A4-A9AC-DA9B8B23DDFB}" type="presOf" srcId="{D4902039-27C0-4D3A-A74A-9290BBD893AC}" destId="{46D4FB9A-CA69-4FE6-AE01-D6BD5549E131}" srcOrd="0" destOrd="0" presId="urn:microsoft.com/office/officeart/2005/8/layout/hList7#1"/>
    <dgm:cxn modelId="{2AE7E930-1F55-4560-860D-456483858630}" type="presOf" srcId="{D4902039-27C0-4D3A-A74A-9290BBD893AC}" destId="{8590A6B1-FBAE-48F8-9FBD-104522464602}" srcOrd="1" destOrd="0" presId="urn:microsoft.com/office/officeart/2005/8/layout/hList7#1"/>
    <dgm:cxn modelId="{29CF7471-5CF0-4912-9D71-98860A25BE83}" type="presOf" srcId="{6CA20128-5E08-496E-A920-86907F555078}" destId="{4893B85D-E7EC-43EB-AD43-BE75F7C562F8}" srcOrd="0" destOrd="0" presId="urn:microsoft.com/office/officeart/2005/8/layout/hList7#1"/>
    <dgm:cxn modelId="{BC49537D-A416-4FF1-A6D7-B13EDBA13FDE}" srcId="{42186144-FFE2-4B4C-AF12-1C1BBA0FC559}" destId="{D4902039-27C0-4D3A-A74A-9290BBD893AC}" srcOrd="1" destOrd="0" parTransId="{714AF09A-1DD3-4FDE-9976-CA8774F8EE4A}" sibTransId="{217B802C-3C62-41AD-B23D-E6E896B28174}"/>
    <dgm:cxn modelId="{4D59A707-552E-4DC6-9BDE-8696D6FB53B4}" type="presParOf" srcId="{E9EB10EC-045A-4DD1-AFDE-A782BCB5EB67}" destId="{A10E4646-191B-46B4-8568-08679650E7AC}" srcOrd="0" destOrd="0" presId="urn:microsoft.com/office/officeart/2005/8/layout/hList7#1"/>
    <dgm:cxn modelId="{A70FD5DC-9F5C-4E5F-B48B-08E64DA8DDA8}" type="presParOf" srcId="{E9EB10EC-045A-4DD1-AFDE-A782BCB5EB67}" destId="{DFC2DE49-C4F7-4402-A216-D281789B7AE7}" srcOrd="1" destOrd="0" presId="urn:microsoft.com/office/officeart/2005/8/layout/hList7#1"/>
    <dgm:cxn modelId="{A2C77763-21AB-47E1-9A4A-1F15201EBF0C}" type="presParOf" srcId="{DFC2DE49-C4F7-4402-A216-D281789B7AE7}" destId="{92876CD0-F994-48ED-B42D-962AEB407CB8}" srcOrd="0" destOrd="0" presId="urn:microsoft.com/office/officeart/2005/8/layout/hList7#1"/>
    <dgm:cxn modelId="{4BD4EE7F-3351-4BAE-84F7-A7FDDA4CFD7B}" type="presParOf" srcId="{92876CD0-F994-48ED-B42D-962AEB407CB8}" destId="{4893B85D-E7EC-43EB-AD43-BE75F7C562F8}" srcOrd="0" destOrd="0" presId="urn:microsoft.com/office/officeart/2005/8/layout/hList7#1"/>
    <dgm:cxn modelId="{C65ADEB3-AC01-46CE-BE02-917DE8687B56}" type="presParOf" srcId="{92876CD0-F994-48ED-B42D-962AEB407CB8}" destId="{E5DBC89C-9976-4F5E-AA0D-B2438C6DC041}" srcOrd="1" destOrd="0" presId="urn:microsoft.com/office/officeart/2005/8/layout/hList7#1"/>
    <dgm:cxn modelId="{04F9250D-A79A-40C5-8D86-3C3356CC58A6}" type="presParOf" srcId="{92876CD0-F994-48ED-B42D-962AEB407CB8}" destId="{3D06D6EC-9F90-42FE-B2C3-BCAA3343CE2A}" srcOrd="2" destOrd="0" presId="urn:microsoft.com/office/officeart/2005/8/layout/hList7#1"/>
    <dgm:cxn modelId="{6E3731AB-378D-4FC3-B1B7-F2029B26AD3E}" type="presParOf" srcId="{92876CD0-F994-48ED-B42D-962AEB407CB8}" destId="{D45867DB-5E57-4321-B95F-EF177612117D}" srcOrd="3" destOrd="0" presId="urn:microsoft.com/office/officeart/2005/8/layout/hList7#1"/>
    <dgm:cxn modelId="{8DCC2B28-602D-4E7C-9A50-FB8C2B45DB64}" type="presParOf" srcId="{DFC2DE49-C4F7-4402-A216-D281789B7AE7}" destId="{A4C0EED3-C0CF-4935-9B8F-10CA4F25283D}" srcOrd="1" destOrd="0" presId="urn:microsoft.com/office/officeart/2005/8/layout/hList7#1"/>
    <dgm:cxn modelId="{A8899990-5B89-488D-82D4-36746C90F83E}" type="presParOf" srcId="{DFC2DE49-C4F7-4402-A216-D281789B7AE7}" destId="{6A5F5854-39DA-406F-B08D-D9D49CCAF460}" srcOrd="2" destOrd="0" presId="urn:microsoft.com/office/officeart/2005/8/layout/hList7#1"/>
    <dgm:cxn modelId="{CC8DDF17-161B-4525-99AE-F3C175860D83}" type="presParOf" srcId="{6A5F5854-39DA-406F-B08D-D9D49CCAF460}" destId="{46D4FB9A-CA69-4FE6-AE01-D6BD5549E131}" srcOrd="0" destOrd="0" presId="urn:microsoft.com/office/officeart/2005/8/layout/hList7#1"/>
    <dgm:cxn modelId="{915CD64A-A5EA-46BF-ABCA-C052E57FF451}" type="presParOf" srcId="{6A5F5854-39DA-406F-B08D-D9D49CCAF460}" destId="{8590A6B1-FBAE-48F8-9FBD-104522464602}" srcOrd="1" destOrd="0" presId="urn:microsoft.com/office/officeart/2005/8/layout/hList7#1"/>
    <dgm:cxn modelId="{4E8E1A7E-7FC2-4C69-94F2-577A9E4CF9B5}" type="presParOf" srcId="{6A5F5854-39DA-406F-B08D-D9D49CCAF460}" destId="{02BD0F62-1430-4251-9367-F1817D788338}" srcOrd="2" destOrd="0" presId="urn:microsoft.com/office/officeart/2005/8/layout/hList7#1"/>
    <dgm:cxn modelId="{104EBC89-AD5B-438E-A2D3-F0B295201006}" type="presParOf" srcId="{6A5F5854-39DA-406F-B08D-D9D49CCAF460}" destId="{0884A0BC-1141-4228-BC39-52DFE7694685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1133BD60-A0CD-4E8D-AC30-5C3DF36BF3E5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71F8DB7C-EFD0-46BE-A725-23EE3A48AA0A}">
      <dgm:prSet custT="1"/>
      <dgm:spPr/>
      <dgm:t>
        <a:bodyPr/>
        <a:lstStyle/>
        <a:p>
          <a:pPr algn="just" rtl="0">
            <a:lnSpc>
              <a:spcPct val="100000"/>
            </a:lnSpc>
            <a:spcAft>
              <a:spcPts val="0"/>
            </a:spcAft>
          </a:pPr>
          <a:r>
            <a:rPr lang="it-IT" sz="18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AFFORZARE IL SISTEMA PRODUTTIVO REGIONALE </a:t>
          </a:r>
          <a:endParaRPr lang="it-IT" sz="1800" b="1" u="none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  <a:p>
          <a:pPr algn="just" rtl="0">
            <a:lnSpc>
              <a:spcPct val="100000"/>
            </a:lnSpc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APPROCCIO MULTIDIMENSIONALE </a:t>
          </a:r>
        </a:p>
        <a:p>
          <a:pPr algn="just" rtl="0">
            <a:lnSpc>
              <a:spcPct val="90000"/>
            </a:lnSpc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Potenziamento del ruolo dei sistemi innovativi locali più performanti nel presidio di alcune KETs e al contempo </a:t>
          </a:r>
          <a:r>
            <a:rPr lang="it-IT" sz="1400" b="1" u="none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nalzamento del valore di mercato del tessuto produttivo tradizionale</a:t>
          </a: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 con le maggiori prospettive di riconversione competitiva e di ricaduta occupazionale.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 Infine, facilitare e supportare il processo di scoperta imprenditoriale favorendo l’incontro tra gli imprenditori anche emergenti e l’offerta di ricerca.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gm:t>
    </dgm:pt>
    <dgm:pt modelId="{72665B98-35CE-4159-B57B-2C79D078C4B0}" type="parTrans" cxnId="{04051AA8-6E1D-4B54-9175-C33BA9537F05}">
      <dgm:prSet/>
      <dgm:spPr/>
      <dgm:t>
        <a:bodyPr/>
        <a:lstStyle/>
        <a:p>
          <a:endParaRPr lang="it-IT"/>
        </a:p>
      </dgm:t>
    </dgm:pt>
    <dgm:pt modelId="{529BB60C-483B-4147-8D40-24F40A32CC2E}" type="sibTrans" cxnId="{04051AA8-6E1D-4B54-9175-C33BA9537F05}">
      <dgm:prSet/>
      <dgm:spPr/>
      <dgm:t>
        <a:bodyPr/>
        <a:lstStyle/>
        <a:p>
          <a:endParaRPr lang="it-IT"/>
        </a:p>
      </dgm:t>
    </dgm:pt>
    <dgm:pt modelId="{13F8570C-D407-4C9C-8203-DDBCD5D8C302}">
      <dgm:prSet custT="1"/>
      <dgm:spPr/>
      <dgm:t>
        <a:bodyPr/>
        <a:lstStyle/>
        <a:p>
          <a:pPr algn="just" rtl="0"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OSTENERE LA DIFFUSIONE DI SOLUZIONI E SERVIZI INNOVATIVI </a:t>
          </a:r>
        </a:p>
        <a:p>
          <a:pPr algn="just" rtl="0"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QUALITÀ DELLA VITA</a:t>
          </a:r>
        </a:p>
        <a:p>
          <a:pPr algn="just" rtl="0"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crementare ed innalzare la diffusione di servizi e soluzioni innovative volti a favorire l’innalzamento della qualità della vita nei luoghi in cui si manifestano bisogni sociali , economici ed ambientali insoddisfatti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. 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gm:t>
    </dgm:pt>
    <dgm:pt modelId="{7CBDB82A-2D40-4DDC-A622-290E8FFBAC5E}" type="parTrans" cxnId="{67541689-EF41-4D3C-85EB-3F24FD44137C}">
      <dgm:prSet/>
      <dgm:spPr/>
      <dgm:t>
        <a:bodyPr/>
        <a:lstStyle/>
        <a:p>
          <a:endParaRPr lang="it-IT"/>
        </a:p>
      </dgm:t>
    </dgm:pt>
    <dgm:pt modelId="{385923A6-D033-4E5B-96FB-50693EECBDC0}" type="sibTrans" cxnId="{67541689-EF41-4D3C-85EB-3F24FD44137C}">
      <dgm:prSet/>
      <dgm:spPr/>
      <dgm:t>
        <a:bodyPr/>
        <a:lstStyle/>
        <a:p>
          <a:endParaRPr lang="it-IT"/>
        </a:p>
      </dgm:t>
    </dgm:pt>
    <dgm:pt modelId="{A109F5AF-794C-47EB-97A9-F70D426F6B51}">
      <dgm:prSet custT="1"/>
      <dgm:spPr/>
      <dgm:t>
        <a:bodyPr/>
        <a:lstStyle/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it-IT" sz="16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MUOVERE LA PIÙ AMPIA DIFFUSIONE DELLA CULTURA DELL’INNOVAZIONE </a:t>
          </a:r>
        </a:p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CAPITALE UMANO</a:t>
          </a:r>
        </a:p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Ruolo abilitante del capitale umano mediante un’attività di formazione e informazione che con gli strumenti più adeguati coinvolga tutti i livelli della società, a partire dalla scuola sino ad arrivare alla pubblica amministrazione.</a:t>
          </a:r>
          <a:endParaRPr lang="it-IT" sz="14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</dgm:t>
    </dgm:pt>
    <dgm:pt modelId="{E6221F95-C69F-41D2-BC2B-D15F2EEA40CF}" type="parTrans" cxnId="{28A0B4C7-D68E-466C-A5FB-FB14E3C52305}">
      <dgm:prSet/>
      <dgm:spPr/>
      <dgm:t>
        <a:bodyPr/>
        <a:lstStyle/>
        <a:p>
          <a:endParaRPr lang="it-IT"/>
        </a:p>
      </dgm:t>
    </dgm:pt>
    <dgm:pt modelId="{39F52CEB-9C6C-4112-9932-5EB4A276AAEE}" type="sibTrans" cxnId="{28A0B4C7-D68E-466C-A5FB-FB14E3C52305}">
      <dgm:prSet/>
      <dgm:spPr/>
      <dgm:t>
        <a:bodyPr/>
        <a:lstStyle/>
        <a:p>
          <a:endParaRPr lang="it-IT"/>
        </a:p>
      </dgm:t>
    </dgm:pt>
    <dgm:pt modelId="{6D3BF0E0-A6D5-4B17-A3EB-39B4A26BDC2B}" type="pres">
      <dgm:prSet presAssocID="{1133BD60-A0CD-4E8D-AC30-5C3DF36BF3E5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CA8AEC78-038F-492A-B908-010D2113C521}" type="pres">
      <dgm:prSet presAssocID="{71F8DB7C-EFD0-46BE-A725-23EE3A48AA0A}" presName="comp" presStyleCnt="0"/>
      <dgm:spPr/>
    </dgm:pt>
    <dgm:pt modelId="{29168C89-C16B-4E9B-8797-A4838073953D}" type="pres">
      <dgm:prSet presAssocID="{71F8DB7C-EFD0-46BE-A725-23EE3A48AA0A}" presName="box" presStyleLbl="node1" presStyleIdx="0" presStyleCnt="3" custScaleY="116031"/>
      <dgm:spPr/>
      <dgm:t>
        <a:bodyPr/>
        <a:lstStyle/>
        <a:p>
          <a:endParaRPr lang="it-IT"/>
        </a:p>
      </dgm:t>
    </dgm:pt>
    <dgm:pt modelId="{56706EBC-49D7-45F7-BB65-A09CF00B3AFD}" type="pres">
      <dgm:prSet presAssocID="{71F8DB7C-EFD0-46BE-A725-23EE3A48AA0A}" presName="img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t>
        <a:bodyPr/>
        <a:lstStyle/>
        <a:p>
          <a:endParaRPr lang="it-IT"/>
        </a:p>
      </dgm:t>
    </dgm:pt>
    <dgm:pt modelId="{07DD0761-820B-4475-ABC4-7AF61419E48D}" type="pres">
      <dgm:prSet presAssocID="{71F8DB7C-EFD0-46BE-A725-23EE3A48AA0A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E80BCBB-55E6-42F0-946C-3E9CCC0E0E6F}" type="pres">
      <dgm:prSet presAssocID="{529BB60C-483B-4147-8D40-24F40A32CC2E}" presName="spacer" presStyleCnt="0"/>
      <dgm:spPr/>
    </dgm:pt>
    <dgm:pt modelId="{E0FFC190-9ED4-4CE4-B454-C00B62DD686C}" type="pres">
      <dgm:prSet presAssocID="{13F8570C-D407-4C9C-8203-DDBCD5D8C302}" presName="comp" presStyleCnt="0"/>
      <dgm:spPr/>
    </dgm:pt>
    <dgm:pt modelId="{DEF0A50A-EAFC-4B73-A2B3-D743262EC1EA}" type="pres">
      <dgm:prSet presAssocID="{13F8570C-D407-4C9C-8203-DDBCD5D8C302}" presName="box" presStyleLbl="node1" presStyleIdx="1" presStyleCnt="3"/>
      <dgm:spPr/>
      <dgm:t>
        <a:bodyPr/>
        <a:lstStyle/>
        <a:p>
          <a:endParaRPr lang="it-IT"/>
        </a:p>
      </dgm:t>
    </dgm:pt>
    <dgm:pt modelId="{14850E1F-B083-46EA-B8E5-E23BCE6F199B}" type="pres">
      <dgm:prSet presAssocID="{13F8570C-D407-4C9C-8203-DDBCD5D8C302}" presName="img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</dgm:spPr>
    </dgm:pt>
    <dgm:pt modelId="{E934FE83-CA18-4800-8D6D-33DB6B5DCEC5}" type="pres">
      <dgm:prSet presAssocID="{13F8570C-D407-4C9C-8203-DDBCD5D8C302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13ADF44-2770-4D57-BF70-9ABFCFA72BD7}" type="pres">
      <dgm:prSet presAssocID="{385923A6-D033-4E5B-96FB-50693EECBDC0}" presName="spacer" presStyleCnt="0"/>
      <dgm:spPr/>
    </dgm:pt>
    <dgm:pt modelId="{010A942C-F660-4AE8-AA29-3AEEF53DB41B}" type="pres">
      <dgm:prSet presAssocID="{A109F5AF-794C-47EB-97A9-F70D426F6B51}" presName="comp" presStyleCnt="0"/>
      <dgm:spPr/>
    </dgm:pt>
    <dgm:pt modelId="{E58B2A6B-DCD5-4D44-B383-E5475A122E28}" type="pres">
      <dgm:prSet presAssocID="{A109F5AF-794C-47EB-97A9-F70D426F6B51}" presName="box" presStyleLbl="node1" presStyleIdx="2" presStyleCnt="3"/>
      <dgm:spPr/>
      <dgm:t>
        <a:bodyPr/>
        <a:lstStyle/>
        <a:p>
          <a:endParaRPr lang="it-IT"/>
        </a:p>
      </dgm:t>
    </dgm:pt>
    <dgm:pt modelId="{03CAC9C2-748F-4326-A0C0-01022A85A403}" type="pres">
      <dgm:prSet presAssocID="{A109F5AF-794C-47EB-97A9-F70D426F6B51}" presName="img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95D74581-BBB4-4660-B949-2FEE5FB4CC0A}" type="pres">
      <dgm:prSet presAssocID="{A109F5AF-794C-47EB-97A9-F70D426F6B51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6CFB8AB-9D36-41E7-8100-0BEAA6FE0CC3}" type="presOf" srcId="{71F8DB7C-EFD0-46BE-A725-23EE3A48AA0A}" destId="{07DD0761-820B-4475-ABC4-7AF61419E48D}" srcOrd="1" destOrd="0" presId="urn:microsoft.com/office/officeart/2005/8/layout/vList4#1"/>
    <dgm:cxn modelId="{B81A3A3C-65B3-4A3D-960B-88975D219D75}" type="presOf" srcId="{71F8DB7C-EFD0-46BE-A725-23EE3A48AA0A}" destId="{29168C89-C16B-4E9B-8797-A4838073953D}" srcOrd="0" destOrd="0" presId="urn:microsoft.com/office/officeart/2005/8/layout/vList4#1"/>
    <dgm:cxn modelId="{95A9184A-0457-4CEE-847B-5469563C73CA}" type="presOf" srcId="{1133BD60-A0CD-4E8D-AC30-5C3DF36BF3E5}" destId="{6D3BF0E0-A6D5-4B17-A3EB-39B4A26BDC2B}" srcOrd="0" destOrd="0" presId="urn:microsoft.com/office/officeart/2005/8/layout/vList4#1"/>
    <dgm:cxn modelId="{60104927-F075-4485-8A86-FD379EF39294}" type="presOf" srcId="{A109F5AF-794C-47EB-97A9-F70D426F6B51}" destId="{95D74581-BBB4-4660-B949-2FEE5FB4CC0A}" srcOrd="1" destOrd="0" presId="urn:microsoft.com/office/officeart/2005/8/layout/vList4#1"/>
    <dgm:cxn modelId="{04051AA8-6E1D-4B54-9175-C33BA9537F05}" srcId="{1133BD60-A0CD-4E8D-AC30-5C3DF36BF3E5}" destId="{71F8DB7C-EFD0-46BE-A725-23EE3A48AA0A}" srcOrd="0" destOrd="0" parTransId="{72665B98-35CE-4159-B57B-2C79D078C4B0}" sibTransId="{529BB60C-483B-4147-8D40-24F40A32CC2E}"/>
    <dgm:cxn modelId="{67541689-EF41-4D3C-85EB-3F24FD44137C}" srcId="{1133BD60-A0CD-4E8D-AC30-5C3DF36BF3E5}" destId="{13F8570C-D407-4C9C-8203-DDBCD5D8C302}" srcOrd="1" destOrd="0" parTransId="{7CBDB82A-2D40-4DDC-A622-290E8FFBAC5E}" sibTransId="{385923A6-D033-4E5B-96FB-50693EECBDC0}"/>
    <dgm:cxn modelId="{ECDE24B8-E6EE-4177-A772-5A56D2E64C96}" type="presOf" srcId="{13F8570C-D407-4C9C-8203-DDBCD5D8C302}" destId="{DEF0A50A-EAFC-4B73-A2B3-D743262EC1EA}" srcOrd="0" destOrd="0" presId="urn:microsoft.com/office/officeart/2005/8/layout/vList4#1"/>
    <dgm:cxn modelId="{28A0B4C7-D68E-466C-A5FB-FB14E3C52305}" srcId="{1133BD60-A0CD-4E8D-AC30-5C3DF36BF3E5}" destId="{A109F5AF-794C-47EB-97A9-F70D426F6B51}" srcOrd="2" destOrd="0" parTransId="{E6221F95-C69F-41D2-BC2B-D15F2EEA40CF}" sibTransId="{39F52CEB-9C6C-4112-9932-5EB4A276AAEE}"/>
    <dgm:cxn modelId="{645D80D0-1022-414C-94EB-FDBD881BD9BF}" type="presOf" srcId="{13F8570C-D407-4C9C-8203-DDBCD5D8C302}" destId="{E934FE83-CA18-4800-8D6D-33DB6B5DCEC5}" srcOrd="1" destOrd="0" presId="urn:microsoft.com/office/officeart/2005/8/layout/vList4#1"/>
    <dgm:cxn modelId="{0384B891-F651-4F5B-843B-B8EC086C1FF1}" type="presOf" srcId="{A109F5AF-794C-47EB-97A9-F70D426F6B51}" destId="{E58B2A6B-DCD5-4D44-B383-E5475A122E28}" srcOrd="0" destOrd="0" presId="urn:microsoft.com/office/officeart/2005/8/layout/vList4#1"/>
    <dgm:cxn modelId="{692AD7BF-9AC8-4DEE-B4B5-158D1B22B7D8}" type="presParOf" srcId="{6D3BF0E0-A6D5-4B17-A3EB-39B4A26BDC2B}" destId="{CA8AEC78-038F-492A-B908-010D2113C521}" srcOrd="0" destOrd="0" presId="urn:microsoft.com/office/officeart/2005/8/layout/vList4#1"/>
    <dgm:cxn modelId="{AC9B58EF-70DF-49DA-8DE7-CEB7C40FE84E}" type="presParOf" srcId="{CA8AEC78-038F-492A-B908-010D2113C521}" destId="{29168C89-C16B-4E9B-8797-A4838073953D}" srcOrd="0" destOrd="0" presId="urn:microsoft.com/office/officeart/2005/8/layout/vList4#1"/>
    <dgm:cxn modelId="{75B2364B-29CB-4E5F-8853-425EED77B6C5}" type="presParOf" srcId="{CA8AEC78-038F-492A-B908-010D2113C521}" destId="{56706EBC-49D7-45F7-BB65-A09CF00B3AFD}" srcOrd="1" destOrd="0" presId="urn:microsoft.com/office/officeart/2005/8/layout/vList4#1"/>
    <dgm:cxn modelId="{D20B078E-D965-46AF-B7DC-66812464FD03}" type="presParOf" srcId="{CA8AEC78-038F-492A-B908-010D2113C521}" destId="{07DD0761-820B-4475-ABC4-7AF61419E48D}" srcOrd="2" destOrd="0" presId="urn:microsoft.com/office/officeart/2005/8/layout/vList4#1"/>
    <dgm:cxn modelId="{726F8E61-F36C-4E74-B14C-A6D99C8AB433}" type="presParOf" srcId="{6D3BF0E0-A6D5-4B17-A3EB-39B4A26BDC2B}" destId="{7E80BCBB-55E6-42F0-946C-3E9CCC0E0E6F}" srcOrd="1" destOrd="0" presId="urn:microsoft.com/office/officeart/2005/8/layout/vList4#1"/>
    <dgm:cxn modelId="{8C1E560B-4497-4802-A61F-24DC7C03B400}" type="presParOf" srcId="{6D3BF0E0-A6D5-4B17-A3EB-39B4A26BDC2B}" destId="{E0FFC190-9ED4-4CE4-B454-C00B62DD686C}" srcOrd="2" destOrd="0" presId="urn:microsoft.com/office/officeart/2005/8/layout/vList4#1"/>
    <dgm:cxn modelId="{DC484EDE-E3C3-4E63-B63A-B617CE061FEC}" type="presParOf" srcId="{E0FFC190-9ED4-4CE4-B454-C00B62DD686C}" destId="{DEF0A50A-EAFC-4B73-A2B3-D743262EC1EA}" srcOrd="0" destOrd="0" presId="urn:microsoft.com/office/officeart/2005/8/layout/vList4#1"/>
    <dgm:cxn modelId="{392A0DB0-9F1E-4D99-8B28-DE95D98222A9}" type="presParOf" srcId="{E0FFC190-9ED4-4CE4-B454-C00B62DD686C}" destId="{14850E1F-B083-46EA-B8E5-E23BCE6F199B}" srcOrd="1" destOrd="0" presId="urn:microsoft.com/office/officeart/2005/8/layout/vList4#1"/>
    <dgm:cxn modelId="{49F049BB-24E1-422F-8087-9B8E0BADB166}" type="presParOf" srcId="{E0FFC190-9ED4-4CE4-B454-C00B62DD686C}" destId="{E934FE83-CA18-4800-8D6D-33DB6B5DCEC5}" srcOrd="2" destOrd="0" presId="urn:microsoft.com/office/officeart/2005/8/layout/vList4#1"/>
    <dgm:cxn modelId="{72C831DA-1456-4677-81AF-A6C8C54C3076}" type="presParOf" srcId="{6D3BF0E0-A6D5-4B17-A3EB-39B4A26BDC2B}" destId="{813ADF44-2770-4D57-BF70-9ABFCFA72BD7}" srcOrd="3" destOrd="0" presId="urn:microsoft.com/office/officeart/2005/8/layout/vList4#1"/>
    <dgm:cxn modelId="{43452D1D-E0D2-4DF3-9123-1420440C5D8E}" type="presParOf" srcId="{6D3BF0E0-A6D5-4B17-A3EB-39B4A26BDC2B}" destId="{010A942C-F660-4AE8-AA29-3AEEF53DB41B}" srcOrd="4" destOrd="0" presId="urn:microsoft.com/office/officeart/2005/8/layout/vList4#1"/>
    <dgm:cxn modelId="{DCD441CE-D222-4DAB-9632-5736FA973C2A}" type="presParOf" srcId="{010A942C-F660-4AE8-AA29-3AEEF53DB41B}" destId="{E58B2A6B-DCD5-4D44-B383-E5475A122E28}" srcOrd="0" destOrd="0" presId="urn:microsoft.com/office/officeart/2005/8/layout/vList4#1"/>
    <dgm:cxn modelId="{29040EBA-2D5C-440E-BF01-4B74D3C24286}" type="presParOf" srcId="{010A942C-F660-4AE8-AA29-3AEEF53DB41B}" destId="{03CAC9C2-748F-4326-A0C0-01022A85A403}" srcOrd="1" destOrd="0" presId="urn:microsoft.com/office/officeart/2005/8/layout/vList4#1"/>
    <dgm:cxn modelId="{A554A590-B352-45B4-9D22-7D68BFB2CE74}" type="presParOf" srcId="{010A942C-F660-4AE8-AA29-3AEEF53DB41B}" destId="{95D74581-BBB4-4660-B949-2FEE5FB4CC0A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DD2A2349-D5E1-4B0B-BC4D-12DFD2A1F555}" type="doc">
      <dgm:prSet loTypeId="urn:microsoft.com/office/officeart/2005/8/layout/gear1" loCatId="relationship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B8CAAE3-2297-43B6-A573-85B61E9001B2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2237D9B8-7080-493B-9788-0BF61F2516A0}" type="parTrans" cxnId="{44DDB8E2-0EF3-4633-BF2B-E93BCCBAFA89}">
      <dgm:prSet/>
      <dgm:spPr/>
      <dgm:t>
        <a:bodyPr/>
        <a:lstStyle/>
        <a:p>
          <a:endParaRPr lang="it-IT"/>
        </a:p>
      </dgm:t>
    </dgm:pt>
    <dgm:pt modelId="{D388EEC3-03C3-47A8-890B-2496F9CBA67B}" type="sibTrans" cxnId="{44DDB8E2-0EF3-4633-BF2B-E93BCCBAFA89}">
      <dgm:prSet/>
      <dgm:spPr/>
      <dgm:t>
        <a:bodyPr/>
        <a:lstStyle/>
        <a:p>
          <a:endParaRPr lang="it-IT"/>
        </a:p>
      </dgm:t>
    </dgm:pt>
    <dgm:pt modelId="{83267C61-1508-43DC-B21B-6C4CC85B645F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68B8E43C-2B2E-4FE0-AE78-B902D4E2AAF2}" type="parTrans" cxnId="{073B4C41-417B-4F58-A495-297D90913EA8}">
      <dgm:prSet/>
      <dgm:spPr/>
      <dgm:t>
        <a:bodyPr/>
        <a:lstStyle/>
        <a:p>
          <a:endParaRPr lang="it-IT"/>
        </a:p>
      </dgm:t>
    </dgm:pt>
    <dgm:pt modelId="{4E4C1904-5B45-41CD-B782-D4F6DF3319A5}" type="sibTrans" cxnId="{073B4C41-417B-4F58-A495-297D90913EA8}">
      <dgm:prSet/>
      <dgm:spPr/>
      <dgm:t>
        <a:bodyPr/>
        <a:lstStyle/>
        <a:p>
          <a:endParaRPr lang="it-IT"/>
        </a:p>
      </dgm:t>
    </dgm:pt>
    <dgm:pt modelId="{04CEFBD9-3179-4291-917F-D814B58269B2}" type="pres">
      <dgm:prSet presAssocID="{DD2A2349-D5E1-4B0B-BC4D-12DFD2A1F555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EE2CEB5-124D-44F5-9096-E7ECAF2F2101}" type="pres">
      <dgm:prSet presAssocID="{DB8CAAE3-2297-43B6-A573-85B61E9001B2}" presName="gear1" presStyleLbl="node1" presStyleIdx="0" presStyleCnt="2" custLinFactNeighborX="63389" custLinFactNeighborY="-17272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15EADC-B8B2-4B58-B882-7BA79A4C3E8C}" type="pres">
      <dgm:prSet presAssocID="{DB8CAAE3-2297-43B6-A573-85B61E9001B2}" presName="gear1srcNode" presStyleLbl="node1" presStyleIdx="0" presStyleCnt="2"/>
      <dgm:spPr/>
      <dgm:t>
        <a:bodyPr/>
        <a:lstStyle/>
        <a:p>
          <a:endParaRPr lang="it-IT"/>
        </a:p>
      </dgm:t>
    </dgm:pt>
    <dgm:pt modelId="{128F0A60-3FF4-4381-B2EE-759ED4374620}" type="pres">
      <dgm:prSet presAssocID="{DB8CAAE3-2297-43B6-A573-85B61E9001B2}" presName="gear1dstNode" presStyleLbl="node1" presStyleIdx="0" presStyleCnt="2"/>
      <dgm:spPr/>
      <dgm:t>
        <a:bodyPr/>
        <a:lstStyle/>
        <a:p>
          <a:endParaRPr lang="it-IT"/>
        </a:p>
      </dgm:t>
    </dgm:pt>
    <dgm:pt modelId="{48AC5F59-43C7-463B-9C6A-CEA2081E1C1C}" type="pres">
      <dgm:prSet presAssocID="{83267C61-1508-43DC-B21B-6C4CC85B645F}" presName="gear2" presStyleLbl="node1" presStyleIdx="1" presStyleCnt="2" custLinFactNeighborX="80598" custLinFactNeighborY="56111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05CD41-67EA-4513-9E61-A8C3D66DFD07}" type="pres">
      <dgm:prSet presAssocID="{83267C61-1508-43DC-B21B-6C4CC85B645F}" presName="gear2srcNode" presStyleLbl="node1" presStyleIdx="1" presStyleCnt="2"/>
      <dgm:spPr/>
      <dgm:t>
        <a:bodyPr/>
        <a:lstStyle/>
        <a:p>
          <a:endParaRPr lang="it-IT"/>
        </a:p>
      </dgm:t>
    </dgm:pt>
    <dgm:pt modelId="{F2B40673-4C71-4A98-9339-977C54C5A9D5}" type="pres">
      <dgm:prSet presAssocID="{83267C61-1508-43DC-B21B-6C4CC85B645F}" presName="gear2dstNode" presStyleLbl="node1" presStyleIdx="1" presStyleCnt="2"/>
      <dgm:spPr/>
      <dgm:t>
        <a:bodyPr/>
        <a:lstStyle/>
        <a:p>
          <a:endParaRPr lang="it-IT"/>
        </a:p>
      </dgm:t>
    </dgm:pt>
    <dgm:pt modelId="{9C58820E-B88E-42EC-B94E-53580DE862F7}" type="pres">
      <dgm:prSet presAssocID="{D388EEC3-03C3-47A8-890B-2496F9CBA67B}" presName="connector1" presStyleLbl="sibTrans2D1" presStyleIdx="0" presStyleCnt="2" custLinFactNeighborX="51535" custLinFactNeighborY="-14042"/>
      <dgm:spPr/>
      <dgm:t>
        <a:bodyPr/>
        <a:lstStyle/>
        <a:p>
          <a:endParaRPr lang="it-IT"/>
        </a:p>
      </dgm:t>
    </dgm:pt>
    <dgm:pt modelId="{271AF710-52C6-4140-9C37-87300CDE1B1A}" type="pres">
      <dgm:prSet presAssocID="{4E4C1904-5B45-41CD-B782-D4F6DF3319A5}" presName="connector2" presStyleLbl="sibTrans2D1" presStyleIdx="1" presStyleCnt="2" custLinFactNeighborX="62397" custLinFactNeighborY="52971"/>
      <dgm:spPr/>
      <dgm:t>
        <a:bodyPr/>
        <a:lstStyle/>
        <a:p>
          <a:endParaRPr lang="it-IT"/>
        </a:p>
      </dgm:t>
    </dgm:pt>
  </dgm:ptLst>
  <dgm:cxnLst>
    <dgm:cxn modelId="{073B4C41-417B-4F58-A495-297D90913EA8}" srcId="{DD2A2349-D5E1-4B0B-BC4D-12DFD2A1F555}" destId="{83267C61-1508-43DC-B21B-6C4CC85B645F}" srcOrd="1" destOrd="0" parTransId="{68B8E43C-2B2E-4FE0-AE78-B902D4E2AAF2}" sibTransId="{4E4C1904-5B45-41CD-B782-D4F6DF3319A5}"/>
    <dgm:cxn modelId="{46422B08-32AE-4F52-B20D-43F3A4235FA0}" type="presOf" srcId="{83267C61-1508-43DC-B21B-6C4CC85B645F}" destId="{A805CD41-67EA-4513-9E61-A8C3D66DFD07}" srcOrd="1" destOrd="0" presId="urn:microsoft.com/office/officeart/2005/8/layout/gear1"/>
    <dgm:cxn modelId="{40E4F66A-B717-4BB7-9B17-7BC5DC7F0357}" type="presOf" srcId="{4E4C1904-5B45-41CD-B782-D4F6DF3319A5}" destId="{271AF710-52C6-4140-9C37-87300CDE1B1A}" srcOrd="0" destOrd="0" presId="urn:microsoft.com/office/officeart/2005/8/layout/gear1"/>
    <dgm:cxn modelId="{01E89E93-089E-415E-8A2E-C12C54A1A311}" type="presOf" srcId="{83267C61-1508-43DC-B21B-6C4CC85B645F}" destId="{48AC5F59-43C7-463B-9C6A-CEA2081E1C1C}" srcOrd="0" destOrd="0" presId="urn:microsoft.com/office/officeart/2005/8/layout/gear1"/>
    <dgm:cxn modelId="{011BBE57-8001-40AD-863D-B5DD99D08A89}" type="presOf" srcId="{DB8CAAE3-2297-43B6-A573-85B61E9001B2}" destId="{3115EADC-B8B2-4B58-B882-7BA79A4C3E8C}" srcOrd="1" destOrd="0" presId="urn:microsoft.com/office/officeart/2005/8/layout/gear1"/>
    <dgm:cxn modelId="{66F034F3-C387-419D-9EFB-6E990FEAA07B}" type="presOf" srcId="{DD2A2349-D5E1-4B0B-BC4D-12DFD2A1F555}" destId="{04CEFBD9-3179-4291-917F-D814B58269B2}" srcOrd="0" destOrd="0" presId="urn:microsoft.com/office/officeart/2005/8/layout/gear1"/>
    <dgm:cxn modelId="{44DDB8E2-0EF3-4633-BF2B-E93BCCBAFA89}" srcId="{DD2A2349-D5E1-4B0B-BC4D-12DFD2A1F555}" destId="{DB8CAAE3-2297-43B6-A573-85B61E9001B2}" srcOrd="0" destOrd="0" parTransId="{2237D9B8-7080-493B-9788-0BF61F2516A0}" sibTransId="{D388EEC3-03C3-47A8-890B-2496F9CBA67B}"/>
    <dgm:cxn modelId="{6EF2D8F7-8173-4C0D-8E67-C7D58AEA2553}" type="presOf" srcId="{D388EEC3-03C3-47A8-890B-2496F9CBA67B}" destId="{9C58820E-B88E-42EC-B94E-53580DE862F7}" srcOrd="0" destOrd="0" presId="urn:microsoft.com/office/officeart/2005/8/layout/gear1"/>
    <dgm:cxn modelId="{1D319EAB-A958-48C3-8990-35F9DD2B2980}" type="presOf" srcId="{83267C61-1508-43DC-B21B-6C4CC85B645F}" destId="{F2B40673-4C71-4A98-9339-977C54C5A9D5}" srcOrd="2" destOrd="0" presId="urn:microsoft.com/office/officeart/2005/8/layout/gear1"/>
    <dgm:cxn modelId="{81C057AF-1D7E-47E1-A67C-14FB472F90F0}" type="presOf" srcId="{DB8CAAE3-2297-43B6-A573-85B61E9001B2}" destId="{128F0A60-3FF4-4381-B2EE-759ED4374620}" srcOrd="2" destOrd="0" presId="urn:microsoft.com/office/officeart/2005/8/layout/gear1"/>
    <dgm:cxn modelId="{BB60D9FC-1E13-479B-9ADC-93CA3FDC2648}" type="presOf" srcId="{DB8CAAE3-2297-43B6-A573-85B61E9001B2}" destId="{2EE2CEB5-124D-44F5-9096-E7ECAF2F2101}" srcOrd="0" destOrd="0" presId="urn:microsoft.com/office/officeart/2005/8/layout/gear1"/>
    <dgm:cxn modelId="{0A467AB4-2920-4DA0-B1B4-6C109C8A287D}" type="presParOf" srcId="{04CEFBD9-3179-4291-917F-D814B58269B2}" destId="{2EE2CEB5-124D-44F5-9096-E7ECAF2F2101}" srcOrd="0" destOrd="0" presId="urn:microsoft.com/office/officeart/2005/8/layout/gear1"/>
    <dgm:cxn modelId="{80467A2E-902A-47F4-9FBF-1F05803284AB}" type="presParOf" srcId="{04CEFBD9-3179-4291-917F-D814B58269B2}" destId="{3115EADC-B8B2-4B58-B882-7BA79A4C3E8C}" srcOrd="1" destOrd="0" presId="urn:microsoft.com/office/officeart/2005/8/layout/gear1"/>
    <dgm:cxn modelId="{9AB0A6EB-CC71-4705-84C7-F8C29113A8F4}" type="presParOf" srcId="{04CEFBD9-3179-4291-917F-D814B58269B2}" destId="{128F0A60-3FF4-4381-B2EE-759ED4374620}" srcOrd="2" destOrd="0" presId="urn:microsoft.com/office/officeart/2005/8/layout/gear1"/>
    <dgm:cxn modelId="{38317960-F620-4E06-BC19-E459D52BB2DF}" type="presParOf" srcId="{04CEFBD9-3179-4291-917F-D814B58269B2}" destId="{48AC5F59-43C7-463B-9C6A-CEA2081E1C1C}" srcOrd="3" destOrd="0" presId="urn:microsoft.com/office/officeart/2005/8/layout/gear1"/>
    <dgm:cxn modelId="{B8EBFAAF-1AE0-4D53-8124-4846FE582E74}" type="presParOf" srcId="{04CEFBD9-3179-4291-917F-D814B58269B2}" destId="{A805CD41-67EA-4513-9E61-A8C3D66DFD07}" srcOrd="4" destOrd="0" presId="urn:microsoft.com/office/officeart/2005/8/layout/gear1"/>
    <dgm:cxn modelId="{189B4482-124D-4A5C-9393-2543F80E9D20}" type="presParOf" srcId="{04CEFBD9-3179-4291-917F-D814B58269B2}" destId="{F2B40673-4C71-4A98-9339-977C54C5A9D5}" srcOrd="5" destOrd="0" presId="urn:microsoft.com/office/officeart/2005/8/layout/gear1"/>
    <dgm:cxn modelId="{CD107B74-5B92-47A1-948A-3BA3E35CB1DF}" type="presParOf" srcId="{04CEFBD9-3179-4291-917F-D814B58269B2}" destId="{9C58820E-B88E-42EC-B94E-53580DE862F7}" srcOrd="6" destOrd="0" presId="urn:microsoft.com/office/officeart/2005/8/layout/gear1"/>
    <dgm:cxn modelId="{0E4CE131-6E04-4C5B-ADA5-210BD9283945}" type="presParOf" srcId="{04CEFBD9-3179-4291-917F-D814B58269B2}" destId="{271AF710-52C6-4140-9C37-87300CDE1B1A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E63ACFB1-B77F-4015-9BED-EC30BF08F77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E46B0764-5BD0-4874-96A3-55F283CF28ED}">
      <dgm:prSet/>
      <dgm:spPr>
        <a:solidFill>
          <a:srgbClr val="FFC000"/>
        </a:solidFill>
      </dgm:spPr>
      <dgm:t>
        <a:bodyPr/>
        <a:lstStyle/>
        <a:p>
          <a:pPr rtl="0"/>
          <a:r>
            <a:rPr lang="it-IT" dirty="0" smtClean="0"/>
            <a:t>Verso il PO FESR 2014-2020</a:t>
          </a:r>
          <a:endParaRPr lang="it-IT" dirty="0"/>
        </a:p>
      </dgm:t>
    </dgm:pt>
    <dgm:pt modelId="{B88FFC91-1F6F-4375-8676-72BE85B74A9B}" type="parTrans" cxnId="{EB38DD7B-3F2C-41A1-87E8-22B0F5F058E1}">
      <dgm:prSet/>
      <dgm:spPr/>
      <dgm:t>
        <a:bodyPr/>
        <a:lstStyle/>
        <a:p>
          <a:endParaRPr lang="it-IT"/>
        </a:p>
      </dgm:t>
    </dgm:pt>
    <dgm:pt modelId="{0F6C585C-BEAF-403B-BAC3-5E6D53278BED}" type="sibTrans" cxnId="{EB38DD7B-3F2C-41A1-87E8-22B0F5F058E1}">
      <dgm:prSet/>
      <dgm:spPr/>
      <dgm:t>
        <a:bodyPr/>
        <a:lstStyle/>
        <a:p>
          <a:endParaRPr lang="it-IT"/>
        </a:p>
      </dgm:t>
    </dgm:pt>
    <dgm:pt modelId="{42458090-426A-4F00-AD2D-8E2703041A28}" type="pres">
      <dgm:prSet presAssocID="{E63ACFB1-B77F-4015-9BED-EC30BF08F7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B318694-7D13-4394-9999-743EFAEC9488}" type="pres">
      <dgm:prSet presAssocID="{E46B0764-5BD0-4874-96A3-55F283CF28ED}" presName="parTxOnly" presStyleLbl="node1" presStyleIdx="0" presStyleCnt="1" custAng="0" custScaleX="41573" custLinFactNeighborX="1872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31E9BD44-8957-4603-B652-DEE653553AE4}" type="presOf" srcId="{E46B0764-5BD0-4874-96A3-55F283CF28ED}" destId="{FB318694-7D13-4394-9999-743EFAEC9488}" srcOrd="0" destOrd="0" presId="urn:microsoft.com/office/officeart/2005/8/layout/hChevron3"/>
    <dgm:cxn modelId="{EB38DD7B-3F2C-41A1-87E8-22B0F5F058E1}" srcId="{E63ACFB1-B77F-4015-9BED-EC30BF08F771}" destId="{E46B0764-5BD0-4874-96A3-55F283CF28ED}" srcOrd="0" destOrd="0" parTransId="{B88FFC91-1F6F-4375-8676-72BE85B74A9B}" sibTransId="{0F6C585C-BEAF-403B-BAC3-5E6D53278BED}"/>
    <dgm:cxn modelId="{DFB0EE91-AB44-44CE-86D0-FD247907EB0E}" type="presOf" srcId="{E63ACFB1-B77F-4015-9BED-EC30BF08F771}" destId="{42458090-426A-4F00-AD2D-8E2703041A28}" srcOrd="0" destOrd="0" presId="urn:microsoft.com/office/officeart/2005/8/layout/hChevron3"/>
    <dgm:cxn modelId="{232D5974-DEFA-4C1D-8420-89FC3EB2EBCF}" type="presParOf" srcId="{42458090-426A-4F00-AD2D-8E2703041A28}" destId="{FB318694-7D13-4394-9999-743EFAEC9488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252B061F-DC74-4240-A22D-340AC33CDB23}" type="doc">
      <dgm:prSet loTypeId="urn:microsoft.com/office/officeart/2005/8/layout/arrow5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it-IT"/>
        </a:p>
      </dgm:t>
    </dgm:pt>
    <dgm:pt modelId="{E3533255-2487-4939-A569-78B4AEF91D4F}">
      <dgm:prSet custT="1"/>
      <dgm:spPr/>
      <dgm:t>
        <a:bodyPr/>
        <a:lstStyle/>
        <a:p>
          <a:pPr algn="ctr"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“</a:t>
          </a:r>
          <a:r>
            <a:rPr lang="it-IT" sz="14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ission </a:t>
          </a:r>
          <a:r>
            <a:rPr lang="it-IT" sz="1400" b="1" i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</a:t>
          </a:r>
        </a:p>
      </dgm:t>
    </dgm:pt>
    <dgm:pt modelId="{E9969D0A-CDB0-4A59-BAAF-5BCC792EC7F5}" type="parTrans" cxnId="{FEBD9CE1-232E-4B6B-BCFC-F4C157473F17}">
      <dgm:prSet/>
      <dgm:spPr/>
      <dgm:t>
        <a:bodyPr/>
        <a:lstStyle/>
        <a:p>
          <a:endParaRPr lang="it-IT"/>
        </a:p>
      </dgm:t>
    </dgm:pt>
    <dgm:pt modelId="{1F2CE6AC-1A18-42D1-856B-F896BB37C72D}" type="sibTrans" cxnId="{FEBD9CE1-232E-4B6B-BCFC-F4C157473F17}">
      <dgm:prSet/>
      <dgm:spPr/>
      <dgm:t>
        <a:bodyPr/>
        <a:lstStyle/>
        <a:p>
          <a:endParaRPr lang="it-IT"/>
        </a:p>
      </dgm:t>
    </dgm:pt>
    <dgm:pt modelId="{303F95F6-F5B4-40BB-8507-7E1FAC1C1BC8}">
      <dgm:prSet custT="1"/>
      <dgm:spPr>
        <a:solidFill>
          <a:srgbClr val="00CC00"/>
        </a:solidFill>
      </dgm:spPr>
      <dgm:t>
        <a:bodyPr/>
        <a:lstStyle/>
        <a:p>
          <a:pPr algn="ctr"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“</a:t>
          </a:r>
          <a:r>
            <a:rPr lang="it-IT" sz="1400" b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iffusion</a:t>
          </a:r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it-IT" sz="1400" b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 </a:t>
          </a:r>
        </a:p>
      </dgm:t>
    </dgm:pt>
    <dgm:pt modelId="{36904EFC-AAA5-459F-9286-E893C56154D8}" type="parTrans" cxnId="{76B25262-B731-4339-AB89-7760519DD432}">
      <dgm:prSet/>
      <dgm:spPr/>
      <dgm:t>
        <a:bodyPr/>
        <a:lstStyle/>
        <a:p>
          <a:endParaRPr lang="it-IT"/>
        </a:p>
      </dgm:t>
    </dgm:pt>
    <dgm:pt modelId="{C7A8447A-1584-4E9F-AE0C-5D1D88E994A8}" type="sibTrans" cxnId="{76B25262-B731-4339-AB89-7760519DD432}">
      <dgm:prSet/>
      <dgm:spPr/>
      <dgm:t>
        <a:bodyPr/>
        <a:lstStyle/>
        <a:p>
          <a:endParaRPr lang="it-IT"/>
        </a:p>
      </dgm:t>
    </dgm:pt>
    <dgm:pt modelId="{B577C3AE-C2B3-4E15-8F77-7C00215FAFC2}" type="pres">
      <dgm:prSet presAssocID="{252B061F-DC74-4240-A22D-340AC33CDB2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711C825-4C01-4010-80E5-94DE88871CFE}" type="pres">
      <dgm:prSet presAssocID="{E3533255-2487-4939-A569-78B4AEF91D4F}" presName="arrow" presStyleLbl="node1" presStyleIdx="0" presStyleCnt="2" custScaleX="23337" custScaleY="100024" custRadScaleRad="106987" custRadScaleInc="543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BF43435-E534-4CA2-9BEB-93585D8D69F7}" type="pres">
      <dgm:prSet presAssocID="{303F95F6-F5B4-40BB-8507-7E1FAC1C1BC8}" presName="arrow" presStyleLbl="node1" presStyleIdx="1" presStyleCnt="2" custScaleX="24710" custScaleY="100024" custRadScaleRad="93679" custRadScaleInc="-683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825AB19-F19F-40B3-9554-199938643240}" type="presOf" srcId="{E3533255-2487-4939-A569-78B4AEF91D4F}" destId="{6711C825-4C01-4010-80E5-94DE88871CFE}" srcOrd="0" destOrd="0" presId="urn:microsoft.com/office/officeart/2005/8/layout/arrow5"/>
    <dgm:cxn modelId="{10B150DE-FCE5-46BF-94B6-DAA559549B86}" type="presOf" srcId="{303F95F6-F5B4-40BB-8507-7E1FAC1C1BC8}" destId="{DBF43435-E534-4CA2-9BEB-93585D8D69F7}" srcOrd="0" destOrd="0" presId="urn:microsoft.com/office/officeart/2005/8/layout/arrow5"/>
    <dgm:cxn modelId="{71F9A988-D73D-4CA5-A87A-D517522CF755}" type="presOf" srcId="{252B061F-DC74-4240-A22D-340AC33CDB23}" destId="{B577C3AE-C2B3-4E15-8F77-7C00215FAFC2}" srcOrd="0" destOrd="0" presId="urn:microsoft.com/office/officeart/2005/8/layout/arrow5"/>
    <dgm:cxn modelId="{76B25262-B731-4339-AB89-7760519DD432}" srcId="{252B061F-DC74-4240-A22D-340AC33CDB23}" destId="{303F95F6-F5B4-40BB-8507-7E1FAC1C1BC8}" srcOrd="1" destOrd="0" parTransId="{36904EFC-AAA5-459F-9286-E893C56154D8}" sibTransId="{C7A8447A-1584-4E9F-AE0C-5D1D88E994A8}"/>
    <dgm:cxn modelId="{FEBD9CE1-232E-4B6B-BCFC-F4C157473F17}" srcId="{252B061F-DC74-4240-A22D-340AC33CDB23}" destId="{E3533255-2487-4939-A569-78B4AEF91D4F}" srcOrd="0" destOrd="0" parTransId="{E9969D0A-CDB0-4A59-BAAF-5BCC792EC7F5}" sibTransId="{1F2CE6AC-1A18-42D1-856B-F896BB37C72D}"/>
    <dgm:cxn modelId="{BCEE5F1E-59FA-4071-B0D1-C2C6372929C4}" type="presParOf" srcId="{B577C3AE-C2B3-4E15-8F77-7C00215FAFC2}" destId="{6711C825-4C01-4010-80E5-94DE88871CFE}" srcOrd="0" destOrd="0" presId="urn:microsoft.com/office/officeart/2005/8/layout/arrow5"/>
    <dgm:cxn modelId="{D3A469AE-FD68-4182-BAA6-B3A89C57CD1D}" type="presParOf" srcId="{B577C3AE-C2B3-4E15-8F77-7C00215FAFC2}" destId="{DBF43435-E534-4CA2-9BEB-93585D8D69F7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Perché siamo qui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803BF4CE-3C3C-4D13-8E02-AEF108F6B537}" type="presOf" srcId="{2BF37BE0-F1C9-4327-8D6B-194C8F2CF94F}" destId="{7D920113-6D83-4974-923F-4CAA40CA2FDB}" srcOrd="0" destOrd="0" presId="urn:microsoft.com/office/officeart/2008/layout/LinedList"/>
    <dgm:cxn modelId="{F68306FD-B994-437E-8BB8-7AFBC2643AE6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BB7E0671-5BC9-42EA-A51A-B4FB2F242B58}" type="presParOf" srcId="{58FB0A67-F67A-40BA-890E-A840ED83B605}" destId="{AB26EC88-0333-42E8-B340-C2B4FE18384A}" srcOrd="0" destOrd="0" presId="urn:microsoft.com/office/officeart/2008/layout/LinedList"/>
    <dgm:cxn modelId="{B5B1377E-D3BE-490B-955F-162C6F7CF8D8}" type="presParOf" srcId="{58FB0A67-F67A-40BA-890E-A840ED83B605}" destId="{45792684-4DE0-4EDD-B49A-A40AB3BD4B9E}" srcOrd="1" destOrd="0" presId="urn:microsoft.com/office/officeart/2008/layout/LinedList"/>
    <dgm:cxn modelId="{73999B88-B7CA-4DCB-AA82-D58EFE4747A8}" type="presParOf" srcId="{45792684-4DE0-4EDD-B49A-A40AB3BD4B9E}" destId="{7D920113-6D83-4974-923F-4CAA40CA2FDB}" srcOrd="0" destOrd="0" presId="urn:microsoft.com/office/officeart/2008/layout/LinedList"/>
    <dgm:cxn modelId="{CB864BC7-BE0F-48AC-B556-CDBA27EF66B0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03CEE9D5-8004-4DC0-A475-3FC6F2F04938}" type="doc">
      <dgm:prSet loTypeId="urn:microsoft.com/office/officeart/2008/layout/SquareAccent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4CC1C72D-FAEB-4E4A-A770-DEBD56EC4F70}">
      <dgm:prSet custT="1"/>
      <dgm:spPr/>
      <dgm:t>
        <a:bodyPr/>
        <a:lstStyle/>
        <a:p>
          <a:pPr algn="just" rtl="0"/>
          <a:r>
            <a:rPr lang="it-IT" sz="1600" b="1" dirty="0" smtClean="0">
              <a:solidFill>
                <a:schemeClr val="accent6">
                  <a:lumMod val="75000"/>
                </a:schemeClr>
              </a:solidFill>
            </a:rPr>
            <a:t>finalizzati ad un diffuso innesto di innovazioni, anche non di natura tecnologica, nel sistema economico e sociale e rivolti ad un’ampia platea di beneficiari </a:t>
          </a:r>
        </a:p>
        <a:p>
          <a:pPr algn="just" rtl="0"/>
          <a:endParaRPr lang="it-IT" sz="1600" b="1" dirty="0"/>
        </a:p>
      </dgm:t>
    </dgm:pt>
    <dgm:pt modelId="{7CDBA97F-9E0D-42CF-ABF2-6C558E7D55BB}" type="parTrans" cxnId="{4E7279C9-7D89-4B78-9A67-8BEB919FFDD2}">
      <dgm:prSet/>
      <dgm:spPr/>
      <dgm:t>
        <a:bodyPr/>
        <a:lstStyle/>
        <a:p>
          <a:endParaRPr lang="it-IT"/>
        </a:p>
      </dgm:t>
    </dgm:pt>
    <dgm:pt modelId="{6FC16ED2-2882-4421-B49D-F8EB891847AF}" type="sibTrans" cxnId="{4E7279C9-7D89-4B78-9A67-8BEB919FFDD2}">
      <dgm:prSet/>
      <dgm:spPr/>
      <dgm:t>
        <a:bodyPr/>
        <a:lstStyle/>
        <a:p>
          <a:endParaRPr lang="it-IT"/>
        </a:p>
      </dgm:t>
    </dgm:pt>
    <dgm:pt modelId="{BE443D71-E9B1-4826-B945-B9AEF9E42B73}" type="pres">
      <dgm:prSet presAssocID="{03CEE9D5-8004-4DC0-A475-3FC6F2F04938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it-IT"/>
        </a:p>
      </dgm:t>
    </dgm:pt>
    <dgm:pt modelId="{0CD5EA9B-7E35-41AA-818A-950033BC2FED}" type="pres">
      <dgm:prSet presAssocID="{4CC1C72D-FAEB-4E4A-A770-DEBD56EC4F70}" presName="root" presStyleCnt="0">
        <dgm:presLayoutVars>
          <dgm:chMax/>
          <dgm:chPref/>
        </dgm:presLayoutVars>
      </dgm:prSet>
      <dgm:spPr/>
    </dgm:pt>
    <dgm:pt modelId="{DBF4ABFD-033D-425D-B852-1E74A50CB8C5}" type="pres">
      <dgm:prSet presAssocID="{4CC1C72D-FAEB-4E4A-A770-DEBD56EC4F70}" presName="rootComposite" presStyleCnt="0">
        <dgm:presLayoutVars/>
      </dgm:prSet>
      <dgm:spPr/>
    </dgm:pt>
    <dgm:pt modelId="{083E03EB-8615-4699-A45B-B57E780F0332}" type="pres">
      <dgm:prSet presAssocID="{4CC1C72D-FAEB-4E4A-A770-DEBD56EC4F70}" presName="ParentAccent" presStyleLbl="alignNode1" presStyleIdx="0" presStyleCnt="1"/>
      <dgm:spPr/>
    </dgm:pt>
    <dgm:pt modelId="{3B2C7311-6F60-41E3-801D-0A7CE5665F13}" type="pres">
      <dgm:prSet presAssocID="{4CC1C72D-FAEB-4E4A-A770-DEBD56EC4F70}" presName="ParentSmallAccent" presStyleLbl="fgAcc1" presStyleIdx="0" presStyleCnt="1"/>
      <dgm:spPr>
        <a:solidFill>
          <a:srgbClr val="33CC33">
            <a:alpha val="90000"/>
          </a:srgbClr>
        </a:solidFill>
      </dgm:spPr>
      <dgm:t>
        <a:bodyPr/>
        <a:lstStyle/>
        <a:p>
          <a:endParaRPr lang="it-IT"/>
        </a:p>
      </dgm:t>
    </dgm:pt>
    <dgm:pt modelId="{D3B3687A-029B-4B9E-A768-51742B3B318E}" type="pres">
      <dgm:prSet presAssocID="{4CC1C72D-FAEB-4E4A-A770-DEBD56EC4F70}" presName="Parent" presStyleLbl="revTx" presStyleIdx="0" presStyleCnt="1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BC7B3CC-52C8-478E-9EDB-521E1034FD07}" type="pres">
      <dgm:prSet presAssocID="{4CC1C72D-FAEB-4E4A-A770-DEBD56EC4F70}" presName="childShape" presStyleCnt="0">
        <dgm:presLayoutVars>
          <dgm:chMax val="0"/>
          <dgm:chPref val="0"/>
        </dgm:presLayoutVars>
      </dgm:prSet>
      <dgm:spPr/>
    </dgm:pt>
  </dgm:ptLst>
  <dgm:cxnLst>
    <dgm:cxn modelId="{BE85160C-B2D6-433F-89E4-497731AFE757}" type="presOf" srcId="{03CEE9D5-8004-4DC0-A475-3FC6F2F04938}" destId="{BE443D71-E9B1-4826-B945-B9AEF9E42B73}" srcOrd="0" destOrd="0" presId="urn:microsoft.com/office/officeart/2008/layout/SquareAccentList"/>
    <dgm:cxn modelId="{4E7279C9-7D89-4B78-9A67-8BEB919FFDD2}" srcId="{03CEE9D5-8004-4DC0-A475-3FC6F2F04938}" destId="{4CC1C72D-FAEB-4E4A-A770-DEBD56EC4F70}" srcOrd="0" destOrd="0" parTransId="{7CDBA97F-9E0D-42CF-ABF2-6C558E7D55BB}" sibTransId="{6FC16ED2-2882-4421-B49D-F8EB891847AF}"/>
    <dgm:cxn modelId="{D6CD2EBF-3EBD-4080-8111-01175127F5CC}" type="presOf" srcId="{4CC1C72D-FAEB-4E4A-A770-DEBD56EC4F70}" destId="{D3B3687A-029B-4B9E-A768-51742B3B318E}" srcOrd="0" destOrd="0" presId="urn:microsoft.com/office/officeart/2008/layout/SquareAccentList"/>
    <dgm:cxn modelId="{4DCF0AE6-7CC6-4E6C-AFC8-3E1BE63EF4F5}" type="presParOf" srcId="{BE443D71-E9B1-4826-B945-B9AEF9E42B73}" destId="{0CD5EA9B-7E35-41AA-818A-950033BC2FED}" srcOrd="0" destOrd="0" presId="urn:microsoft.com/office/officeart/2008/layout/SquareAccentList"/>
    <dgm:cxn modelId="{12BA7619-119C-4C2D-93A5-CA5E7DFD7569}" type="presParOf" srcId="{0CD5EA9B-7E35-41AA-818A-950033BC2FED}" destId="{DBF4ABFD-033D-425D-B852-1E74A50CB8C5}" srcOrd="0" destOrd="0" presId="urn:microsoft.com/office/officeart/2008/layout/SquareAccentList"/>
    <dgm:cxn modelId="{20528DB6-7337-42E0-85AD-012F61210CDB}" type="presParOf" srcId="{DBF4ABFD-033D-425D-B852-1E74A50CB8C5}" destId="{083E03EB-8615-4699-A45B-B57E780F0332}" srcOrd="0" destOrd="0" presId="urn:microsoft.com/office/officeart/2008/layout/SquareAccentList"/>
    <dgm:cxn modelId="{4511B563-4954-42DA-9707-CF6D1DAC5A22}" type="presParOf" srcId="{DBF4ABFD-033D-425D-B852-1E74A50CB8C5}" destId="{3B2C7311-6F60-41E3-801D-0A7CE5665F13}" srcOrd="1" destOrd="0" presId="urn:microsoft.com/office/officeart/2008/layout/SquareAccentList"/>
    <dgm:cxn modelId="{52A8E655-9EB6-4F15-B860-481E54120F1C}" type="presParOf" srcId="{DBF4ABFD-033D-425D-B852-1E74A50CB8C5}" destId="{D3B3687A-029B-4B9E-A768-51742B3B318E}" srcOrd="2" destOrd="0" presId="urn:microsoft.com/office/officeart/2008/layout/SquareAccentList"/>
    <dgm:cxn modelId="{C4E00449-057B-4DB5-A9E2-7C83EE24E8A5}" type="presParOf" srcId="{0CD5EA9B-7E35-41AA-818A-950033BC2FED}" destId="{CBC7B3CC-52C8-478E-9EDB-521E1034FD07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FBCF1CB5-D42E-4059-B1D0-BE44D4B17212}" type="doc">
      <dgm:prSet loTypeId="urn:microsoft.com/office/officeart/2008/layout/SquareAccent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it-IT"/>
        </a:p>
      </dgm:t>
    </dgm:pt>
    <dgm:pt modelId="{C50E0AF5-3031-4EDA-B175-798CC21362AE}">
      <dgm:prSet/>
      <dgm:spPr/>
      <dgm:t>
        <a:bodyPr/>
        <a:lstStyle/>
        <a:p>
          <a:pPr algn="just" rtl="0"/>
          <a:r>
            <a:rPr lang="it-IT" b="1" dirty="0" smtClean="0">
              <a:solidFill>
                <a:schemeClr val="accent2"/>
              </a:solidFill>
            </a:rPr>
            <a:t>finalizzati al sostegno mirato a programmi ambiziosi di carattere strategico sotto il profilo dell’impatto sul contesto regionale</a:t>
          </a:r>
          <a:endParaRPr lang="it-IT" b="1" dirty="0">
            <a:solidFill>
              <a:schemeClr val="accent2"/>
            </a:solidFill>
          </a:endParaRPr>
        </a:p>
      </dgm:t>
    </dgm:pt>
    <dgm:pt modelId="{191394A3-EA3D-474E-AC1A-408ED8186BFF}" type="parTrans" cxnId="{1E78D72B-08D3-46BA-B7A0-3EA14F1018E1}">
      <dgm:prSet/>
      <dgm:spPr/>
      <dgm:t>
        <a:bodyPr/>
        <a:lstStyle/>
        <a:p>
          <a:endParaRPr lang="it-IT"/>
        </a:p>
      </dgm:t>
    </dgm:pt>
    <dgm:pt modelId="{79FD2D2A-7A21-4EBB-9F8F-63792777EDD4}" type="sibTrans" cxnId="{1E78D72B-08D3-46BA-B7A0-3EA14F1018E1}">
      <dgm:prSet/>
      <dgm:spPr/>
      <dgm:t>
        <a:bodyPr/>
        <a:lstStyle/>
        <a:p>
          <a:endParaRPr lang="it-IT"/>
        </a:p>
      </dgm:t>
    </dgm:pt>
    <dgm:pt modelId="{1BC6DDBE-EEA3-419A-B9D7-094F9E8B0E6A}" type="pres">
      <dgm:prSet presAssocID="{FBCF1CB5-D42E-4059-B1D0-BE44D4B17212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it-IT"/>
        </a:p>
      </dgm:t>
    </dgm:pt>
    <dgm:pt modelId="{C811D93E-2A42-4EBC-9230-FD8F17C1C8AC}" type="pres">
      <dgm:prSet presAssocID="{C50E0AF5-3031-4EDA-B175-798CC21362AE}" presName="root" presStyleCnt="0">
        <dgm:presLayoutVars>
          <dgm:chMax/>
          <dgm:chPref/>
        </dgm:presLayoutVars>
      </dgm:prSet>
      <dgm:spPr/>
    </dgm:pt>
    <dgm:pt modelId="{C91C54B4-1758-4214-B440-5B8C6FE421E7}" type="pres">
      <dgm:prSet presAssocID="{C50E0AF5-3031-4EDA-B175-798CC21362AE}" presName="rootComposite" presStyleCnt="0">
        <dgm:presLayoutVars/>
      </dgm:prSet>
      <dgm:spPr/>
    </dgm:pt>
    <dgm:pt modelId="{5F1D0415-9388-4E4F-9160-2793C0F671EE}" type="pres">
      <dgm:prSet presAssocID="{C50E0AF5-3031-4EDA-B175-798CC21362AE}" presName="ParentAccent" presStyleLbl="alignNode1" presStyleIdx="0" presStyleCnt="1"/>
      <dgm:spPr/>
    </dgm:pt>
    <dgm:pt modelId="{49E0879E-6F98-4834-B869-D3EE0F5BDB55}" type="pres">
      <dgm:prSet presAssocID="{C50E0AF5-3031-4EDA-B175-798CC21362AE}" presName="ParentSmallAccent" presStyleLbl="fgAcc1" presStyleIdx="0" presStyleCnt="1"/>
      <dgm:spPr>
        <a:solidFill>
          <a:schemeClr val="accent2">
            <a:alpha val="90000"/>
          </a:schemeClr>
        </a:solidFill>
      </dgm:spPr>
    </dgm:pt>
    <dgm:pt modelId="{83966723-4AA0-486E-A4AA-943FAAF5ED21}" type="pres">
      <dgm:prSet presAssocID="{C50E0AF5-3031-4EDA-B175-798CC21362AE}" presName="Parent" presStyleLbl="revTx" presStyleIdx="0" presStyleCnt="1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F992286-5A4C-4907-87E5-3A9EFB506D24}" type="pres">
      <dgm:prSet presAssocID="{C50E0AF5-3031-4EDA-B175-798CC21362AE}" presName="childShape" presStyleCnt="0">
        <dgm:presLayoutVars>
          <dgm:chMax val="0"/>
          <dgm:chPref val="0"/>
        </dgm:presLayoutVars>
      </dgm:prSet>
      <dgm:spPr/>
    </dgm:pt>
  </dgm:ptLst>
  <dgm:cxnLst>
    <dgm:cxn modelId="{32509C7D-35F7-4ADD-9C2F-013EAD73B95A}" type="presOf" srcId="{FBCF1CB5-D42E-4059-B1D0-BE44D4B17212}" destId="{1BC6DDBE-EEA3-419A-B9D7-094F9E8B0E6A}" srcOrd="0" destOrd="0" presId="urn:microsoft.com/office/officeart/2008/layout/SquareAccentList"/>
    <dgm:cxn modelId="{73453856-102D-438A-AB1F-7831761A74F2}" type="presOf" srcId="{C50E0AF5-3031-4EDA-B175-798CC21362AE}" destId="{83966723-4AA0-486E-A4AA-943FAAF5ED21}" srcOrd="0" destOrd="0" presId="urn:microsoft.com/office/officeart/2008/layout/SquareAccentList"/>
    <dgm:cxn modelId="{1E78D72B-08D3-46BA-B7A0-3EA14F1018E1}" srcId="{FBCF1CB5-D42E-4059-B1D0-BE44D4B17212}" destId="{C50E0AF5-3031-4EDA-B175-798CC21362AE}" srcOrd="0" destOrd="0" parTransId="{191394A3-EA3D-474E-AC1A-408ED8186BFF}" sibTransId="{79FD2D2A-7A21-4EBB-9F8F-63792777EDD4}"/>
    <dgm:cxn modelId="{40DD3790-C282-4BB9-9B01-CA8EADF19E21}" type="presParOf" srcId="{1BC6DDBE-EEA3-419A-B9D7-094F9E8B0E6A}" destId="{C811D93E-2A42-4EBC-9230-FD8F17C1C8AC}" srcOrd="0" destOrd="0" presId="urn:microsoft.com/office/officeart/2008/layout/SquareAccentList"/>
    <dgm:cxn modelId="{42443857-11B8-4360-AA17-B0FF05891A57}" type="presParOf" srcId="{C811D93E-2A42-4EBC-9230-FD8F17C1C8AC}" destId="{C91C54B4-1758-4214-B440-5B8C6FE421E7}" srcOrd="0" destOrd="0" presId="urn:microsoft.com/office/officeart/2008/layout/SquareAccentList"/>
    <dgm:cxn modelId="{8164BC0A-8FA9-4D7C-A151-3E1876904140}" type="presParOf" srcId="{C91C54B4-1758-4214-B440-5B8C6FE421E7}" destId="{5F1D0415-9388-4E4F-9160-2793C0F671EE}" srcOrd="0" destOrd="0" presId="urn:microsoft.com/office/officeart/2008/layout/SquareAccentList"/>
    <dgm:cxn modelId="{80C359C0-FCEA-4AC8-8DE3-14EDD77B7C71}" type="presParOf" srcId="{C91C54B4-1758-4214-B440-5B8C6FE421E7}" destId="{49E0879E-6F98-4834-B869-D3EE0F5BDB55}" srcOrd="1" destOrd="0" presId="urn:microsoft.com/office/officeart/2008/layout/SquareAccentList"/>
    <dgm:cxn modelId="{DEB51D22-9525-4DEC-9A91-CBD225F5211B}" type="presParOf" srcId="{C91C54B4-1758-4214-B440-5B8C6FE421E7}" destId="{83966723-4AA0-486E-A4AA-943FAAF5ED21}" srcOrd="2" destOrd="0" presId="urn:microsoft.com/office/officeart/2008/layout/SquareAccentList"/>
    <dgm:cxn modelId="{679BEBF8-27B3-4BEE-9F90-A72996222095}" type="presParOf" srcId="{C811D93E-2A42-4EBC-9230-FD8F17C1C8AC}" destId="{2F992286-5A4C-4907-87E5-3A9EFB506D24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DD2A2349-D5E1-4B0B-BC4D-12DFD2A1F555}" type="doc">
      <dgm:prSet loTypeId="urn:microsoft.com/office/officeart/2005/8/layout/gear1" loCatId="relationship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B8CAAE3-2297-43B6-A573-85B61E9001B2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2237D9B8-7080-493B-9788-0BF61F2516A0}" type="parTrans" cxnId="{44DDB8E2-0EF3-4633-BF2B-E93BCCBAFA89}">
      <dgm:prSet/>
      <dgm:spPr/>
      <dgm:t>
        <a:bodyPr/>
        <a:lstStyle/>
        <a:p>
          <a:endParaRPr lang="it-IT"/>
        </a:p>
      </dgm:t>
    </dgm:pt>
    <dgm:pt modelId="{D388EEC3-03C3-47A8-890B-2496F9CBA67B}" type="sibTrans" cxnId="{44DDB8E2-0EF3-4633-BF2B-E93BCCBAFA89}">
      <dgm:prSet/>
      <dgm:spPr/>
      <dgm:t>
        <a:bodyPr/>
        <a:lstStyle/>
        <a:p>
          <a:endParaRPr lang="it-IT"/>
        </a:p>
      </dgm:t>
    </dgm:pt>
    <dgm:pt modelId="{83267C61-1508-43DC-B21B-6C4CC85B645F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68B8E43C-2B2E-4FE0-AE78-B902D4E2AAF2}" type="parTrans" cxnId="{073B4C41-417B-4F58-A495-297D90913EA8}">
      <dgm:prSet/>
      <dgm:spPr/>
      <dgm:t>
        <a:bodyPr/>
        <a:lstStyle/>
        <a:p>
          <a:endParaRPr lang="it-IT"/>
        </a:p>
      </dgm:t>
    </dgm:pt>
    <dgm:pt modelId="{4E4C1904-5B45-41CD-B782-D4F6DF3319A5}" type="sibTrans" cxnId="{073B4C41-417B-4F58-A495-297D90913EA8}">
      <dgm:prSet/>
      <dgm:spPr/>
      <dgm:t>
        <a:bodyPr/>
        <a:lstStyle/>
        <a:p>
          <a:endParaRPr lang="it-IT"/>
        </a:p>
      </dgm:t>
    </dgm:pt>
    <dgm:pt modelId="{04CEFBD9-3179-4291-917F-D814B58269B2}" type="pres">
      <dgm:prSet presAssocID="{DD2A2349-D5E1-4B0B-BC4D-12DFD2A1F555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EE2CEB5-124D-44F5-9096-E7ECAF2F2101}" type="pres">
      <dgm:prSet presAssocID="{DB8CAAE3-2297-43B6-A573-85B61E9001B2}" presName="gear1" presStyleLbl="node1" presStyleIdx="0" presStyleCnt="2" custLinFactNeighborX="63389" custLinFactNeighborY="-17272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15EADC-B8B2-4B58-B882-7BA79A4C3E8C}" type="pres">
      <dgm:prSet presAssocID="{DB8CAAE3-2297-43B6-A573-85B61E9001B2}" presName="gear1srcNode" presStyleLbl="node1" presStyleIdx="0" presStyleCnt="2"/>
      <dgm:spPr/>
      <dgm:t>
        <a:bodyPr/>
        <a:lstStyle/>
        <a:p>
          <a:endParaRPr lang="it-IT"/>
        </a:p>
      </dgm:t>
    </dgm:pt>
    <dgm:pt modelId="{128F0A60-3FF4-4381-B2EE-759ED4374620}" type="pres">
      <dgm:prSet presAssocID="{DB8CAAE3-2297-43B6-A573-85B61E9001B2}" presName="gear1dstNode" presStyleLbl="node1" presStyleIdx="0" presStyleCnt="2"/>
      <dgm:spPr/>
      <dgm:t>
        <a:bodyPr/>
        <a:lstStyle/>
        <a:p>
          <a:endParaRPr lang="it-IT"/>
        </a:p>
      </dgm:t>
    </dgm:pt>
    <dgm:pt modelId="{48AC5F59-43C7-463B-9C6A-CEA2081E1C1C}" type="pres">
      <dgm:prSet presAssocID="{83267C61-1508-43DC-B21B-6C4CC85B645F}" presName="gear2" presStyleLbl="node1" presStyleIdx="1" presStyleCnt="2" custLinFactNeighborX="80598" custLinFactNeighborY="56111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05CD41-67EA-4513-9E61-A8C3D66DFD07}" type="pres">
      <dgm:prSet presAssocID="{83267C61-1508-43DC-B21B-6C4CC85B645F}" presName="gear2srcNode" presStyleLbl="node1" presStyleIdx="1" presStyleCnt="2"/>
      <dgm:spPr/>
      <dgm:t>
        <a:bodyPr/>
        <a:lstStyle/>
        <a:p>
          <a:endParaRPr lang="it-IT"/>
        </a:p>
      </dgm:t>
    </dgm:pt>
    <dgm:pt modelId="{F2B40673-4C71-4A98-9339-977C54C5A9D5}" type="pres">
      <dgm:prSet presAssocID="{83267C61-1508-43DC-B21B-6C4CC85B645F}" presName="gear2dstNode" presStyleLbl="node1" presStyleIdx="1" presStyleCnt="2"/>
      <dgm:spPr/>
      <dgm:t>
        <a:bodyPr/>
        <a:lstStyle/>
        <a:p>
          <a:endParaRPr lang="it-IT"/>
        </a:p>
      </dgm:t>
    </dgm:pt>
    <dgm:pt modelId="{9C58820E-B88E-42EC-B94E-53580DE862F7}" type="pres">
      <dgm:prSet presAssocID="{D388EEC3-03C3-47A8-890B-2496F9CBA67B}" presName="connector1" presStyleLbl="sibTrans2D1" presStyleIdx="0" presStyleCnt="2" custLinFactNeighborX="51535" custLinFactNeighborY="-14042"/>
      <dgm:spPr/>
      <dgm:t>
        <a:bodyPr/>
        <a:lstStyle/>
        <a:p>
          <a:endParaRPr lang="it-IT"/>
        </a:p>
      </dgm:t>
    </dgm:pt>
    <dgm:pt modelId="{271AF710-52C6-4140-9C37-87300CDE1B1A}" type="pres">
      <dgm:prSet presAssocID="{4E4C1904-5B45-41CD-B782-D4F6DF3319A5}" presName="connector2" presStyleLbl="sibTrans2D1" presStyleIdx="1" presStyleCnt="2" custLinFactNeighborX="62397" custLinFactNeighborY="52971"/>
      <dgm:spPr/>
      <dgm:t>
        <a:bodyPr/>
        <a:lstStyle/>
        <a:p>
          <a:endParaRPr lang="it-IT"/>
        </a:p>
      </dgm:t>
    </dgm:pt>
  </dgm:ptLst>
  <dgm:cxnLst>
    <dgm:cxn modelId="{E973B78A-E2A4-4AB2-AF3F-07B81D0CFD41}" type="presOf" srcId="{83267C61-1508-43DC-B21B-6C4CC85B645F}" destId="{A805CD41-67EA-4513-9E61-A8C3D66DFD07}" srcOrd="1" destOrd="0" presId="urn:microsoft.com/office/officeart/2005/8/layout/gear1"/>
    <dgm:cxn modelId="{073B4C41-417B-4F58-A495-297D90913EA8}" srcId="{DD2A2349-D5E1-4B0B-BC4D-12DFD2A1F555}" destId="{83267C61-1508-43DC-B21B-6C4CC85B645F}" srcOrd="1" destOrd="0" parTransId="{68B8E43C-2B2E-4FE0-AE78-B902D4E2AAF2}" sibTransId="{4E4C1904-5B45-41CD-B782-D4F6DF3319A5}"/>
    <dgm:cxn modelId="{39A52E1E-94C1-429B-A989-AF009BF1DCB5}" type="presOf" srcId="{DD2A2349-D5E1-4B0B-BC4D-12DFD2A1F555}" destId="{04CEFBD9-3179-4291-917F-D814B58269B2}" srcOrd="0" destOrd="0" presId="urn:microsoft.com/office/officeart/2005/8/layout/gear1"/>
    <dgm:cxn modelId="{B273E0DF-7C8D-4F44-9941-C81535740E4B}" type="presOf" srcId="{D388EEC3-03C3-47A8-890B-2496F9CBA67B}" destId="{9C58820E-B88E-42EC-B94E-53580DE862F7}" srcOrd="0" destOrd="0" presId="urn:microsoft.com/office/officeart/2005/8/layout/gear1"/>
    <dgm:cxn modelId="{24E82FF4-319D-4F85-AAA0-8830099BE41A}" type="presOf" srcId="{DB8CAAE3-2297-43B6-A573-85B61E9001B2}" destId="{3115EADC-B8B2-4B58-B882-7BA79A4C3E8C}" srcOrd="1" destOrd="0" presId="urn:microsoft.com/office/officeart/2005/8/layout/gear1"/>
    <dgm:cxn modelId="{AD8CCAD4-AB68-425D-8AA1-61BEA7900809}" type="presOf" srcId="{DB8CAAE3-2297-43B6-A573-85B61E9001B2}" destId="{2EE2CEB5-124D-44F5-9096-E7ECAF2F2101}" srcOrd="0" destOrd="0" presId="urn:microsoft.com/office/officeart/2005/8/layout/gear1"/>
    <dgm:cxn modelId="{460C89F5-E483-4735-B69D-FF943B520745}" type="presOf" srcId="{83267C61-1508-43DC-B21B-6C4CC85B645F}" destId="{F2B40673-4C71-4A98-9339-977C54C5A9D5}" srcOrd="2" destOrd="0" presId="urn:microsoft.com/office/officeart/2005/8/layout/gear1"/>
    <dgm:cxn modelId="{1D89BB28-5620-404C-9C97-4BD6C1984773}" type="presOf" srcId="{DB8CAAE3-2297-43B6-A573-85B61E9001B2}" destId="{128F0A60-3FF4-4381-B2EE-759ED4374620}" srcOrd="2" destOrd="0" presId="urn:microsoft.com/office/officeart/2005/8/layout/gear1"/>
    <dgm:cxn modelId="{44DDB8E2-0EF3-4633-BF2B-E93BCCBAFA89}" srcId="{DD2A2349-D5E1-4B0B-BC4D-12DFD2A1F555}" destId="{DB8CAAE3-2297-43B6-A573-85B61E9001B2}" srcOrd="0" destOrd="0" parTransId="{2237D9B8-7080-493B-9788-0BF61F2516A0}" sibTransId="{D388EEC3-03C3-47A8-890B-2496F9CBA67B}"/>
    <dgm:cxn modelId="{DE5EF5F4-0062-4C02-966D-09F6745A78DE}" type="presOf" srcId="{83267C61-1508-43DC-B21B-6C4CC85B645F}" destId="{48AC5F59-43C7-463B-9C6A-CEA2081E1C1C}" srcOrd="0" destOrd="0" presId="urn:microsoft.com/office/officeart/2005/8/layout/gear1"/>
    <dgm:cxn modelId="{91477217-0A6C-4AD2-AE63-0BA9B9F9E58A}" type="presOf" srcId="{4E4C1904-5B45-41CD-B782-D4F6DF3319A5}" destId="{271AF710-52C6-4140-9C37-87300CDE1B1A}" srcOrd="0" destOrd="0" presId="urn:microsoft.com/office/officeart/2005/8/layout/gear1"/>
    <dgm:cxn modelId="{F8808E31-56D6-4C18-8068-AF6E8F80A352}" type="presParOf" srcId="{04CEFBD9-3179-4291-917F-D814B58269B2}" destId="{2EE2CEB5-124D-44F5-9096-E7ECAF2F2101}" srcOrd="0" destOrd="0" presId="urn:microsoft.com/office/officeart/2005/8/layout/gear1"/>
    <dgm:cxn modelId="{D1E13CB9-3E79-4EDC-83ED-47CE937C8594}" type="presParOf" srcId="{04CEFBD9-3179-4291-917F-D814B58269B2}" destId="{3115EADC-B8B2-4B58-B882-7BA79A4C3E8C}" srcOrd="1" destOrd="0" presId="urn:microsoft.com/office/officeart/2005/8/layout/gear1"/>
    <dgm:cxn modelId="{11928C9E-5CB6-4CA7-B69B-DF7CAC6C4E9C}" type="presParOf" srcId="{04CEFBD9-3179-4291-917F-D814B58269B2}" destId="{128F0A60-3FF4-4381-B2EE-759ED4374620}" srcOrd="2" destOrd="0" presId="urn:microsoft.com/office/officeart/2005/8/layout/gear1"/>
    <dgm:cxn modelId="{0EF33985-7524-4E54-9136-ED9ADE599100}" type="presParOf" srcId="{04CEFBD9-3179-4291-917F-D814B58269B2}" destId="{48AC5F59-43C7-463B-9C6A-CEA2081E1C1C}" srcOrd="3" destOrd="0" presId="urn:microsoft.com/office/officeart/2005/8/layout/gear1"/>
    <dgm:cxn modelId="{8B6692A9-7E5A-4257-8052-934F448AE1F8}" type="presParOf" srcId="{04CEFBD9-3179-4291-917F-D814B58269B2}" destId="{A805CD41-67EA-4513-9E61-A8C3D66DFD07}" srcOrd="4" destOrd="0" presId="urn:microsoft.com/office/officeart/2005/8/layout/gear1"/>
    <dgm:cxn modelId="{54B95809-4A19-4076-8927-AED9A84D03A1}" type="presParOf" srcId="{04CEFBD9-3179-4291-917F-D814B58269B2}" destId="{F2B40673-4C71-4A98-9339-977C54C5A9D5}" srcOrd="5" destOrd="0" presId="urn:microsoft.com/office/officeart/2005/8/layout/gear1"/>
    <dgm:cxn modelId="{18404D68-D137-4F97-8D97-E7039F9DBE0C}" type="presParOf" srcId="{04CEFBD9-3179-4291-917F-D814B58269B2}" destId="{9C58820E-B88E-42EC-B94E-53580DE862F7}" srcOrd="6" destOrd="0" presId="urn:microsoft.com/office/officeart/2005/8/layout/gear1"/>
    <dgm:cxn modelId="{9D3ABE8E-F7F8-4F42-8CB5-4C73F13CC3BD}" type="presParOf" srcId="{04CEFBD9-3179-4291-917F-D814B58269B2}" destId="{271AF710-52C6-4140-9C37-87300CDE1B1A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DD2A2349-D5E1-4B0B-BC4D-12DFD2A1F555}" type="doc">
      <dgm:prSet loTypeId="urn:microsoft.com/office/officeart/2005/8/layout/gear1" loCatId="relationship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B8CAAE3-2297-43B6-A573-85B61E9001B2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2237D9B8-7080-493B-9788-0BF61F2516A0}" type="parTrans" cxnId="{44DDB8E2-0EF3-4633-BF2B-E93BCCBAFA89}">
      <dgm:prSet/>
      <dgm:spPr/>
      <dgm:t>
        <a:bodyPr/>
        <a:lstStyle/>
        <a:p>
          <a:endParaRPr lang="it-IT"/>
        </a:p>
      </dgm:t>
    </dgm:pt>
    <dgm:pt modelId="{D388EEC3-03C3-47A8-890B-2496F9CBA67B}" type="sibTrans" cxnId="{44DDB8E2-0EF3-4633-BF2B-E93BCCBAFA89}">
      <dgm:prSet/>
      <dgm:spPr/>
      <dgm:t>
        <a:bodyPr/>
        <a:lstStyle/>
        <a:p>
          <a:endParaRPr lang="it-IT"/>
        </a:p>
      </dgm:t>
    </dgm:pt>
    <dgm:pt modelId="{83267C61-1508-43DC-B21B-6C4CC85B645F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68B8E43C-2B2E-4FE0-AE78-B902D4E2AAF2}" type="parTrans" cxnId="{073B4C41-417B-4F58-A495-297D90913EA8}">
      <dgm:prSet/>
      <dgm:spPr/>
      <dgm:t>
        <a:bodyPr/>
        <a:lstStyle/>
        <a:p>
          <a:endParaRPr lang="it-IT"/>
        </a:p>
      </dgm:t>
    </dgm:pt>
    <dgm:pt modelId="{4E4C1904-5B45-41CD-B782-D4F6DF3319A5}" type="sibTrans" cxnId="{073B4C41-417B-4F58-A495-297D90913EA8}">
      <dgm:prSet/>
      <dgm:spPr/>
      <dgm:t>
        <a:bodyPr/>
        <a:lstStyle/>
        <a:p>
          <a:endParaRPr lang="it-IT"/>
        </a:p>
      </dgm:t>
    </dgm:pt>
    <dgm:pt modelId="{04CEFBD9-3179-4291-917F-D814B58269B2}" type="pres">
      <dgm:prSet presAssocID="{DD2A2349-D5E1-4B0B-BC4D-12DFD2A1F555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EE2CEB5-124D-44F5-9096-E7ECAF2F2101}" type="pres">
      <dgm:prSet presAssocID="{DB8CAAE3-2297-43B6-A573-85B61E9001B2}" presName="gear1" presStyleLbl="node1" presStyleIdx="0" presStyleCnt="2" custLinFactNeighborX="63389" custLinFactNeighborY="-17272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15EADC-B8B2-4B58-B882-7BA79A4C3E8C}" type="pres">
      <dgm:prSet presAssocID="{DB8CAAE3-2297-43B6-A573-85B61E9001B2}" presName="gear1srcNode" presStyleLbl="node1" presStyleIdx="0" presStyleCnt="2"/>
      <dgm:spPr/>
      <dgm:t>
        <a:bodyPr/>
        <a:lstStyle/>
        <a:p>
          <a:endParaRPr lang="it-IT"/>
        </a:p>
      </dgm:t>
    </dgm:pt>
    <dgm:pt modelId="{128F0A60-3FF4-4381-B2EE-759ED4374620}" type="pres">
      <dgm:prSet presAssocID="{DB8CAAE3-2297-43B6-A573-85B61E9001B2}" presName="gear1dstNode" presStyleLbl="node1" presStyleIdx="0" presStyleCnt="2"/>
      <dgm:spPr/>
      <dgm:t>
        <a:bodyPr/>
        <a:lstStyle/>
        <a:p>
          <a:endParaRPr lang="it-IT"/>
        </a:p>
      </dgm:t>
    </dgm:pt>
    <dgm:pt modelId="{48AC5F59-43C7-463B-9C6A-CEA2081E1C1C}" type="pres">
      <dgm:prSet presAssocID="{83267C61-1508-43DC-B21B-6C4CC85B645F}" presName="gear2" presStyleLbl="node1" presStyleIdx="1" presStyleCnt="2" custLinFactNeighborX="80598" custLinFactNeighborY="56111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05CD41-67EA-4513-9E61-A8C3D66DFD07}" type="pres">
      <dgm:prSet presAssocID="{83267C61-1508-43DC-B21B-6C4CC85B645F}" presName="gear2srcNode" presStyleLbl="node1" presStyleIdx="1" presStyleCnt="2"/>
      <dgm:spPr/>
      <dgm:t>
        <a:bodyPr/>
        <a:lstStyle/>
        <a:p>
          <a:endParaRPr lang="it-IT"/>
        </a:p>
      </dgm:t>
    </dgm:pt>
    <dgm:pt modelId="{F2B40673-4C71-4A98-9339-977C54C5A9D5}" type="pres">
      <dgm:prSet presAssocID="{83267C61-1508-43DC-B21B-6C4CC85B645F}" presName="gear2dstNode" presStyleLbl="node1" presStyleIdx="1" presStyleCnt="2"/>
      <dgm:spPr/>
      <dgm:t>
        <a:bodyPr/>
        <a:lstStyle/>
        <a:p>
          <a:endParaRPr lang="it-IT"/>
        </a:p>
      </dgm:t>
    </dgm:pt>
    <dgm:pt modelId="{9C58820E-B88E-42EC-B94E-53580DE862F7}" type="pres">
      <dgm:prSet presAssocID="{D388EEC3-03C3-47A8-890B-2496F9CBA67B}" presName="connector1" presStyleLbl="sibTrans2D1" presStyleIdx="0" presStyleCnt="2" custLinFactNeighborX="51535" custLinFactNeighborY="-14042"/>
      <dgm:spPr/>
      <dgm:t>
        <a:bodyPr/>
        <a:lstStyle/>
        <a:p>
          <a:endParaRPr lang="it-IT"/>
        </a:p>
      </dgm:t>
    </dgm:pt>
    <dgm:pt modelId="{271AF710-52C6-4140-9C37-87300CDE1B1A}" type="pres">
      <dgm:prSet presAssocID="{4E4C1904-5B45-41CD-B782-D4F6DF3319A5}" presName="connector2" presStyleLbl="sibTrans2D1" presStyleIdx="1" presStyleCnt="2" custLinFactNeighborX="62397" custLinFactNeighborY="52971"/>
      <dgm:spPr/>
      <dgm:t>
        <a:bodyPr/>
        <a:lstStyle/>
        <a:p>
          <a:endParaRPr lang="it-IT"/>
        </a:p>
      </dgm:t>
    </dgm:pt>
  </dgm:ptLst>
  <dgm:cxnLst>
    <dgm:cxn modelId="{F710C373-0449-400E-AC7F-169955F64028}" type="presOf" srcId="{83267C61-1508-43DC-B21B-6C4CC85B645F}" destId="{A805CD41-67EA-4513-9E61-A8C3D66DFD07}" srcOrd="1" destOrd="0" presId="urn:microsoft.com/office/officeart/2005/8/layout/gear1"/>
    <dgm:cxn modelId="{B0717F38-BC4F-47CE-82F5-CC2690BD18D3}" type="presOf" srcId="{DB8CAAE3-2297-43B6-A573-85B61E9001B2}" destId="{128F0A60-3FF4-4381-B2EE-759ED4374620}" srcOrd="2" destOrd="0" presId="urn:microsoft.com/office/officeart/2005/8/layout/gear1"/>
    <dgm:cxn modelId="{073B4C41-417B-4F58-A495-297D90913EA8}" srcId="{DD2A2349-D5E1-4B0B-BC4D-12DFD2A1F555}" destId="{83267C61-1508-43DC-B21B-6C4CC85B645F}" srcOrd="1" destOrd="0" parTransId="{68B8E43C-2B2E-4FE0-AE78-B902D4E2AAF2}" sibTransId="{4E4C1904-5B45-41CD-B782-D4F6DF3319A5}"/>
    <dgm:cxn modelId="{CB706912-FB58-497C-A636-0BCA92B8A07C}" type="presOf" srcId="{DD2A2349-D5E1-4B0B-BC4D-12DFD2A1F555}" destId="{04CEFBD9-3179-4291-917F-D814B58269B2}" srcOrd="0" destOrd="0" presId="urn:microsoft.com/office/officeart/2005/8/layout/gear1"/>
    <dgm:cxn modelId="{4C6BD1B1-8ABD-4D8A-B956-70991E45D4A7}" type="presOf" srcId="{4E4C1904-5B45-41CD-B782-D4F6DF3319A5}" destId="{271AF710-52C6-4140-9C37-87300CDE1B1A}" srcOrd="0" destOrd="0" presId="urn:microsoft.com/office/officeart/2005/8/layout/gear1"/>
    <dgm:cxn modelId="{D6A2FC78-FA82-42E8-97D0-C528039850A2}" type="presOf" srcId="{83267C61-1508-43DC-B21B-6C4CC85B645F}" destId="{F2B40673-4C71-4A98-9339-977C54C5A9D5}" srcOrd="2" destOrd="0" presId="urn:microsoft.com/office/officeart/2005/8/layout/gear1"/>
    <dgm:cxn modelId="{0B4B7CE5-0003-4F73-AD8A-DCF292ECB7EB}" type="presOf" srcId="{D388EEC3-03C3-47A8-890B-2496F9CBA67B}" destId="{9C58820E-B88E-42EC-B94E-53580DE862F7}" srcOrd="0" destOrd="0" presId="urn:microsoft.com/office/officeart/2005/8/layout/gear1"/>
    <dgm:cxn modelId="{44DDB8E2-0EF3-4633-BF2B-E93BCCBAFA89}" srcId="{DD2A2349-D5E1-4B0B-BC4D-12DFD2A1F555}" destId="{DB8CAAE3-2297-43B6-A573-85B61E9001B2}" srcOrd="0" destOrd="0" parTransId="{2237D9B8-7080-493B-9788-0BF61F2516A0}" sibTransId="{D388EEC3-03C3-47A8-890B-2496F9CBA67B}"/>
    <dgm:cxn modelId="{7BB8CA4D-5692-4F5E-B33C-6FE66F66BFA0}" type="presOf" srcId="{83267C61-1508-43DC-B21B-6C4CC85B645F}" destId="{48AC5F59-43C7-463B-9C6A-CEA2081E1C1C}" srcOrd="0" destOrd="0" presId="urn:microsoft.com/office/officeart/2005/8/layout/gear1"/>
    <dgm:cxn modelId="{8C9C7A53-388A-4F89-8E3E-71C007D7CB45}" type="presOf" srcId="{DB8CAAE3-2297-43B6-A573-85B61E9001B2}" destId="{3115EADC-B8B2-4B58-B882-7BA79A4C3E8C}" srcOrd="1" destOrd="0" presId="urn:microsoft.com/office/officeart/2005/8/layout/gear1"/>
    <dgm:cxn modelId="{ED58951A-BFC1-4ECB-BFD5-DAAEB7FA739A}" type="presOf" srcId="{DB8CAAE3-2297-43B6-A573-85B61E9001B2}" destId="{2EE2CEB5-124D-44F5-9096-E7ECAF2F2101}" srcOrd="0" destOrd="0" presId="urn:microsoft.com/office/officeart/2005/8/layout/gear1"/>
    <dgm:cxn modelId="{59BE7612-08FA-4752-8FC1-1878D1A304BF}" type="presParOf" srcId="{04CEFBD9-3179-4291-917F-D814B58269B2}" destId="{2EE2CEB5-124D-44F5-9096-E7ECAF2F2101}" srcOrd="0" destOrd="0" presId="urn:microsoft.com/office/officeart/2005/8/layout/gear1"/>
    <dgm:cxn modelId="{498660B6-558B-4E4E-B57D-3FF8EFB825AF}" type="presParOf" srcId="{04CEFBD9-3179-4291-917F-D814B58269B2}" destId="{3115EADC-B8B2-4B58-B882-7BA79A4C3E8C}" srcOrd="1" destOrd="0" presId="urn:microsoft.com/office/officeart/2005/8/layout/gear1"/>
    <dgm:cxn modelId="{D1326E1B-621F-4465-B7E0-C9BC5666F1C4}" type="presParOf" srcId="{04CEFBD9-3179-4291-917F-D814B58269B2}" destId="{128F0A60-3FF4-4381-B2EE-759ED4374620}" srcOrd="2" destOrd="0" presId="urn:microsoft.com/office/officeart/2005/8/layout/gear1"/>
    <dgm:cxn modelId="{896E4E68-BFFF-4BF8-AE74-5C5C7E4CA810}" type="presParOf" srcId="{04CEFBD9-3179-4291-917F-D814B58269B2}" destId="{48AC5F59-43C7-463B-9C6A-CEA2081E1C1C}" srcOrd="3" destOrd="0" presId="urn:microsoft.com/office/officeart/2005/8/layout/gear1"/>
    <dgm:cxn modelId="{942B0D46-146F-4ADA-B80C-5DF57DB7184B}" type="presParOf" srcId="{04CEFBD9-3179-4291-917F-D814B58269B2}" destId="{A805CD41-67EA-4513-9E61-A8C3D66DFD07}" srcOrd="4" destOrd="0" presId="urn:microsoft.com/office/officeart/2005/8/layout/gear1"/>
    <dgm:cxn modelId="{6FA6E0A9-6F5F-4DC2-8A28-4AC5EE393C50}" type="presParOf" srcId="{04CEFBD9-3179-4291-917F-D814B58269B2}" destId="{F2B40673-4C71-4A98-9339-977C54C5A9D5}" srcOrd="5" destOrd="0" presId="urn:microsoft.com/office/officeart/2005/8/layout/gear1"/>
    <dgm:cxn modelId="{02718C9E-E2BE-4F95-BEEA-5896C7968BAE}" type="presParOf" srcId="{04CEFBD9-3179-4291-917F-D814B58269B2}" destId="{9C58820E-B88E-42EC-B94E-53580DE862F7}" srcOrd="6" destOrd="0" presId="urn:microsoft.com/office/officeart/2005/8/layout/gear1"/>
    <dgm:cxn modelId="{84F7BE82-6E01-4167-A2A8-4340CB11DF9E}" type="presParOf" srcId="{04CEFBD9-3179-4291-917F-D814B58269B2}" destId="{271AF710-52C6-4140-9C37-87300CDE1B1A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E63ACFB1-B77F-4015-9BED-EC30BF08F77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E46B0764-5BD0-4874-96A3-55F283CF28ED}">
      <dgm:prSet/>
      <dgm:spPr>
        <a:solidFill>
          <a:srgbClr val="FFC000"/>
        </a:solidFill>
      </dgm:spPr>
      <dgm:t>
        <a:bodyPr/>
        <a:lstStyle/>
        <a:p>
          <a:pPr rtl="0"/>
          <a:r>
            <a:rPr lang="it-IT" dirty="0" smtClean="0"/>
            <a:t>Verso il PO FESR 2014-2020</a:t>
          </a:r>
          <a:endParaRPr lang="it-IT" dirty="0"/>
        </a:p>
      </dgm:t>
    </dgm:pt>
    <dgm:pt modelId="{B88FFC91-1F6F-4375-8676-72BE85B74A9B}" type="parTrans" cxnId="{EB38DD7B-3F2C-41A1-87E8-22B0F5F058E1}">
      <dgm:prSet/>
      <dgm:spPr/>
      <dgm:t>
        <a:bodyPr/>
        <a:lstStyle/>
        <a:p>
          <a:endParaRPr lang="it-IT"/>
        </a:p>
      </dgm:t>
    </dgm:pt>
    <dgm:pt modelId="{0F6C585C-BEAF-403B-BAC3-5E6D53278BED}" type="sibTrans" cxnId="{EB38DD7B-3F2C-41A1-87E8-22B0F5F058E1}">
      <dgm:prSet/>
      <dgm:spPr/>
      <dgm:t>
        <a:bodyPr/>
        <a:lstStyle/>
        <a:p>
          <a:endParaRPr lang="it-IT"/>
        </a:p>
      </dgm:t>
    </dgm:pt>
    <dgm:pt modelId="{42458090-426A-4F00-AD2D-8E2703041A28}" type="pres">
      <dgm:prSet presAssocID="{E63ACFB1-B77F-4015-9BED-EC30BF08F7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B318694-7D13-4394-9999-743EFAEC9488}" type="pres">
      <dgm:prSet presAssocID="{E46B0764-5BD0-4874-96A3-55F283CF28ED}" presName="parTxOnly" presStyleLbl="node1" presStyleIdx="0" presStyleCnt="1" custAng="0" custScaleX="41573" custLinFactNeighborX="1872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08BB4B3-A473-4C35-8B32-B5EAEFF0BCC5}" type="presOf" srcId="{E63ACFB1-B77F-4015-9BED-EC30BF08F771}" destId="{42458090-426A-4F00-AD2D-8E2703041A28}" srcOrd="0" destOrd="0" presId="urn:microsoft.com/office/officeart/2005/8/layout/hChevron3"/>
    <dgm:cxn modelId="{DEE56BBD-57B3-4C04-B350-DA02FD73BC8E}" type="presOf" srcId="{E46B0764-5BD0-4874-96A3-55F283CF28ED}" destId="{FB318694-7D13-4394-9999-743EFAEC9488}" srcOrd="0" destOrd="0" presId="urn:microsoft.com/office/officeart/2005/8/layout/hChevron3"/>
    <dgm:cxn modelId="{EB38DD7B-3F2C-41A1-87E8-22B0F5F058E1}" srcId="{E63ACFB1-B77F-4015-9BED-EC30BF08F771}" destId="{E46B0764-5BD0-4874-96A3-55F283CF28ED}" srcOrd="0" destOrd="0" parTransId="{B88FFC91-1F6F-4375-8676-72BE85B74A9B}" sibTransId="{0F6C585C-BEAF-403B-BAC3-5E6D53278BED}"/>
    <dgm:cxn modelId="{01EBEC93-5415-42AB-87AF-5412BDFB16A6}" type="presParOf" srcId="{42458090-426A-4F00-AD2D-8E2703041A28}" destId="{FB318694-7D13-4394-9999-743EFAEC9488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AE646E03-12A4-49CF-87FA-83F02809DAA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3F18DF4-A7CB-4C68-84EF-BE7E4F9667D2}">
      <dgm:prSet custT="1"/>
      <dgm:spPr/>
      <dgm:t>
        <a:bodyPr/>
        <a:lstStyle/>
        <a:p>
          <a:pPr algn="ctr" rtl="0"/>
          <a:r>
            <a:rPr lang="it-IT" sz="1100" dirty="0" smtClean="0"/>
            <a:t>Mission Oriented </a:t>
          </a:r>
          <a:endParaRPr lang="it-IT" sz="1100" dirty="0"/>
        </a:p>
      </dgm:t>
    </dgm:pt>
    <dgm:pt modelId="{1A9E2F38-4905-4E72-9BAD-FC02BBD1C89D}" type="parTrans" cxnId="{3EB93381-CFDF-412D-BD0E-28EC38363155}">
      <dgm:prSet/>
      <dgm:spPr/>
      <dgm:t>
        <a:bodyPr/>
        <a:lstStyle/>
        <a:p>
          <a:endParaRPr lang="it-IT"/>
        </a:p>
      </dgm:t>
    </dgm:pt>
    <dgm:pt modelId="{53E7F729-0A4D-416F-AF8A-594714C3CE2E}" type="sibTrans" cxnId="{3EB93381-CFDF-412D-BD0E-28EC38363155}">
      <dgm:prSet/>
      <dgm:spPr/>
      <dgm:t>
        <a:bodyPr/>
        <a:lstStyle/>
        <a:p>
          <a:endParaRPr lang="it-IT"/>
        </a:p>
      </dgm:t>
    </dgm:pt>
    <dgm:pt modelId="{32EF67BB-7DDF-4EDE-983A-3F879EF25BB8}" type="pres">
      <dgm:prSet presAssocID="{AE646E03-12A4-49CF-87FA-83F02809DAA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9145999-397C-4B26-80C5-A6DCCF277918}" type="pres">
      <dgm:prSet presAssocID="{83F18DF4-A7CB-4C68-84EF-BE7E4F9667D2}" presName="parentText" presStyleLbl="node1" presStyleIdx="0" presStyleCnt="1" custScaleY="19615" custLinFactNeighborX="-2180" custLinFactNeighborY="1217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F7F25AA-AF11-485F-8292-7F5B71B16FB2}" type="presOf" srcId="{AE646E03-12A4-49CF-87FA-83F02809DAAE}" destId="{32EF67BB-7DDF-4EDE-983A-3F879EF25BB8}" srcOrd="0" destOrd="0" presId="urn:microsoft.com/office/officeart/2005/8/layout/vList2"/>
    <dgm:cxn modelId="{3EB93381-CFDF-412D-BD0E-28EC38363155}" srcId="{AE646E03-12A4-49CF-87FA-83F02809DAAE}" destId="{83F18DF4-A7CB-4C68-84EF-BE7E4F9667D2}" srcOrd="0" destOrd="0" parTransId="{1A9E2F38-4905-4E72-9BAD-FC02BBD1C89D}" sibTransId="{53E7F729-0A4D-416F-AF8A-594714C3CE2E}"/>
    <dgm:cxn modelId="{73813EF9-353F-48B2-B260-CDD958D8DBD6}" type="presOf" srcId="{83F18DF4-A7CB-4C68-84EF-BE7E4F9667D2}" destId="{49145999-397C-4B26-80C5-A6DCCF277918}" srcOrd="0" destOrd="0" presId="urn:microsoft.com/office/officeart/2005/8/layout/vList2"/>
    <dgm:cxn modelId="{E3FB5D4E-D446-42EC-9451-EB5156DDD252}" type="presParOf" srcId="{32EF67BB-7DDF-4EDE-983A-3F879EF25BB8}" destId="{49145999-397C-4B26-80C5-A6DCCF27791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AE646E03-12A4-49CF-87FA-83F02809DAA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3F18DF4-A7CB-4C68-84EF-BE7E4F9667D2}">
      <dgm:prSet custT="1"/>
      <dgm:spPr/>
      <dgm:t>
        <a:bodyPr/>
        <a:lstStyle/>
        <a:p>
          <a:pPr algn="ctr" rtl="0"/>
          <a:r>
            <a:rPr lang="it-IT" sz="1100" dirty="0" smtClean="0"/>
            <a:t>Diffusion  Oriented </a:t>
          </a:r>
          <a:endParaRPr lang="it-IT" sz="1100" dirty="0"/>
        </a:p>
      </dgm:t>
    </dgm:pt>
    <dgm:pt modelId="{1A9E2F38-4905-4E72-9BAD-FC02BBD1C89D}" type="parTrans" cxnId="{3EB93381-CFDF-412D-BD0E-28EC38363155}">
      <dgm:prSet/>
      <dgm:spPr/>
      <dgm:t>
        <a:bodyPr/>
        <a:lstStyle/>
        <a:p>
          <a:endParaRPr lang="it-IT"/>
        </a:p>
      </dgm:t>
    </dgm:pt>
    <dgm:pt modelId="{53E7F729-0A4D-416F-AF8A-594714C3CE2E}" type="sibTrans" cxnId="{3EB93381-CFDF-412D-BD0E-28EC38363155}">
      <dgm:prSet/>
      <dgm:spPr/>
      <dgm:t>
        <a:bodyPr/>
        <a:lstStyle/>
        <a:p>
          <a:endParaRPr lang="it-IT"/>
        </a:p>
      </dgm:t>
    </dgm:pt>
    <dgm:pt modelId="{32EF67BB-7DDF-4EDE-983A-3F879EF25BB8}" type="pres">
      <dgm:prSet presAssocID="{AE646E03-12A4-49CF-87FA-83F02809DAA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9145999-397C-4B26-80C5-A6DCCF277918}" type="pres">
      <dgm:prSet presAssocID="{83F18DF4-A7CB-4C68-84EF-BE7E4F9667D2}" presName="parentText" presStyleLbl="node1" presStyleIdx="0" presStyleCnt="1" custScaleY="19615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80E2B6B0-EF9A-41DE-8AD1-A43E492446C5}" type="presOf" srcId="{83F18DF4-A7CB-4C68-84EF-BE7E4F9667D2}" destId="{49145999-397C-4B26-80C5-A6DCCF277918}" srcOrd="0" destOrd="0" presId="urn:microsoft.com/office/officeart/2005/8/layout/vList2"/>
    <dgm:cxn modelId="{3EB93381-CFDF-412D-BD0E-28EC38363155}" srcId="{AE646E03-12A4-49CF-87FA-83F02809DAAE}" destId="{83F18DF4-A7CB-4C68-84EF-BE7E4F9667D2}" srcOrd="0" destOrd="0" parTransId="{1A9E2F38-4905-4E72-9BAD-FC02BBD1C89D}" sibTransId="{53E7F729-0A4D-416F-AF8A-594714C3CE2E}"/>
    <dgm:cxn modelId="{71AC1A34-3DCF-48AA-B6FC-F7D681F02741}" type="presOf" srcId="{AE646E03-12A4-49CF-87FA-83F02809DAAE}" destId="{32EF67BB-7DDF-4EDE-983A-3F879EF25BB8}" srcOrd="0" destOrd="0" presId="urn:microsoft.com/office/officeart/2005/8/layout/vList2"/>
    <dgm:cxn modelId="{195A4896-A6E1-4AAD-A2BA-7D6265B1077F}" type="presParOf" srcId="{32EF67BB-7DDF-4EDE-983A-3F879EF25BB8}" destId="{49145999-397C-4B26-80C5-A6DCCF27791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39FD4E34-C18B-4E55-8F13-FC6F8AE5828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CEA299AD-D349-496E-B78D-D831922BCD2A}">
      <dgm:prSet/>
      <dgm:spPr/>
      <dgm:t>
        <a:bodyPr/>
        <a:lstStyle/>
        <a:p>
          <a:pPr rtl="0"/>
          <a:r>
            <a:rPr lang="it-IT" dirty="0" smtClean="0"/>
            <a:t>Rafforzamento competenze scientifiche e produttive legate alle KETs </a:t>
          </a:r>
          <a:endParaRPr lang="it-IT" dirty="0"/>
        </a:p>
      </dgm:t>
    </dgm:pt>
    <dgm:pt modelId="{72D864ED-69E8-4DFB-A5A3-B6CA65F6F973}" type="parTrans" cxnId="{98EC2005-1324-4336-9361-1A1643668FC3}">
      <dgm:prSet/>
      <dgm:spPr/>
      <dgm:t>
        <a:bodyPr/>
        <a:lstStyle/>
        <a:p>
          <a:endParaRPr lang="it-IT"/>
        </a:p>
      </dgm:t>
    </dgm:pt>
    <dgm:pt modelId="{79CCDDF6-46B0-4D22-A120-BE39E4E04BB0}" type="sibTrans" cxnId="{98EC2005-1324-4336-9361-1A1643668FC3}">
      <dgm:prSet/>
      <dgm:spPr/>
      <dgm:t>
        <a:bodyPr/>
        <a:lstStyle/>
        <a:p>
          <a:endParaRPr lang="it-IT"/>
        </a:p>
      </dgm:t>
    </dgm:pt>
    <dgm:pt modelId="{BABB195B-5594-48DA-90AD-E0F073F4596F}" type="pres">
      <dgm:prSet presAssocID="{39FD4E34-C18B-4E55-8F13-FC6F8AE5828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77FC795-A476-4946-BE97-EF1BF71309EC}" type="pres">
      <dgm:prSet presAssocID="{CEA299AD-D349-496E-B78D-D831922BCD2A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98EC2005-1324-4336-9361-1A1643668FC3}" srcId="{39FD4E34-C18B-4E55-8F13-FC6F8AE5828C}" destId="{CEA299AD-D349-496E-B78D-D831922BCD2A}" srcOrd="0" destOrd="0" parTransId="{72D864ED-69E8-4DFB-A5A3-B6CA65F6F973}" sibTransId="{79CCDDF6-46B0-4D22-A120-BE39E4E04BB0}"/>
    <dgm:cxn modelId="{CF065958-5DC3-45B2-A784-4E12E23D0AC5}" type="presOf" srcId="{39FD4E34-C18B-4E55-8F13-FC6F8AE5828C}" destId="{BABB195B-5594-48DA-90AD-E0F073F4596F}" srcOrd="0" destOrd="0" presId="urn:microsoft.com/office/officeart/2005/8/layout/vList2"/>
    <dgm:cxn modelId="{863DE31F-AFDD-4E16-98B2-1E05F667F90D}" type="presOf" srcId="{CEA299AD-D349-496E-B78D-D831922BCD2A}" destId="{677FC795-A476-4946-BE97-EF1BF71309EC}" srcOrd="0" destOrd="0" presId="urn:microsoft.com/office/officeart/2005/8/layout/vList2"/>
    <dgm:cxn modelId="{4AF2D579-9F84-4310-B315-4BFF2CF0E8A0}" type="presParOf" srcId="{BABB195B-5594-48DA-90AD-E0F073F4596F}" destId="{677FC795-A476-4946-BE97-EF1BF71309E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38.xml><?xml version="1.0" encoding="utf-8"?>
<dgm:dataModel xmlns:dgm="http://schemas.openxmlformats.org/drawingml/2006/diagram" xmlns:a="http://schemas.openxmlformats.org/drawingml/2006/main">
  <dgm:ptLst>
    <dgm:pt modelId="{FF2A952B-8B1F-4A81-95B2-FE6D0C93768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5131F6F2-53E2-47D7-B836-76B41ADD98CC}">
      <dgm:prSet/>
      <dgm:spPr/>
      <dgm:t>
        <a:bodyPr/>
        <a:lstStyle/>
        <a:p>
          <a:pPr rtl="0"/>
          <a:r>
            <a:rPr lang="it-IT" dirty="0" smtClean="0"/>
            <a:t>Applicazioni delle KET s ai settori esistenti con maggiori potenzialità di sviluppo competitivo</a:t>
          </a:r>
          <a:endParaRPr lang="it-IT" dirty="0"/>
        </a:p>
      </dgm:t>
    </dgm:pt>
    <dgm:pt modelId="{CFE3FBC7-C9FB-4FB5-909B-C511C68BEA7F}" type="parTrans" cxnId="{4DD85B7B-C9AF-4EF5-9890-671A5EED9641}">
      <dgm:prSet/>
      <dgm:spPr/>
      <dgm:t>
        <a:bodyPr/>
        <a:lstStyle/>
        <a:p>
          <a:endParaRPr lang="it-IT"/>
        </a:p>
      </dgm:t>
    </dgm:pt>
    <dgm:pt modelId="{DCE95833-DB23-4095-9F3E-6CA8E4A63CD9}" type="sibTrans" cxnId="{4DD85B7B-C9AF-4EF5-9890-671A5EED9641}">
      <dgm:prSet/>
      <dgm:spPr/>
      <dgm:t>
        <a:bodyPr/>
        <a:lstStyle/>
        <a:p>
          <a:endParaRPr lang="it-IT"/>
        </a:p>
      </dgm:t>
    </dgm:pt>
    <dgm:pt modelId="{FFA70382-B56C-4782-9AC6-2589FCC02597}" type="pres">
      <dgm:prSet presAssocID="{FF2A952B-8B1F-4A81-95B2-FE6D0C93768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5C7320C9-9B3C-43B0-ABDA-0630C0911D53}" type="pres">
      <dgm:prSet presAssocID="{5131F6F2-53E2-47D7-B836-76B41ADD98CC}" presName="parentText" presStyleLbl="node1" presStyleIdx="0" presStyleCnt="1" custLinFactNeighborY="-16468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3EAD8B11-339F-46AC-9877-288EDE844C34}" type="presOf" srcId="{FF2A952B-8B1F-4A81-95B2-FE6D0C93768D}" destId="{FFA70382-B56C-4782-9AC6-2589FCC02597}" srcOrd="0" destOrd="0" presId="urn:microsoft.com/office/officeart/2005/8/layout/vList2"/>
    <dgm:cxn modelId="{4DD85B7B-C9AF-4EF5-9890-671A5EED9641}" srcId="{FF2A952B-8B1F-4A81-95B2-FE6D0C93768D}" destId="{5131F6F2-53E2-47D7-B836-76B41ADD98CC}" srcOrd="0" destOrd="0" parTransId="{CFE3FBC7-C9FB-4FB5-909B-C511C68BEA7F}" sibTransId="{DCE95833-DB23-4095-9F3E-6CA8E4A63CD9}"/>
    <dgm:cxn modelId="{4C3CC790-388A-4949-A205-9BC6019E153F}" type="presOf" srcId="{5131F6F2-53E2-47D7-B836-76B41ADD98CC}" destId="{5C7320C9-9B3C-43B0-ABDA-0630C0911D53}" srcOrd="0" destOrd="0" presId="urn:microsoft.com/office/officeart/2005/8/layout/vList2"/>
    <dgm:cxn modelId="{21962D43-671F-4057-8CE7-2C941F4C5429}" type="presParOf" srcId="{FFA70382-B56C-4782-9AC6-2589FCC02597}" destId="{5C7320C9-9B3C-43B0-ABDA-0630C0911D5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39.xml><?xml version="1.0" encoding="utf-8"?>
<dgm:dataModel xmlns:dgm="http://schemas.openxmlformats.org/drawingml/2006/diagram" xmlns:a="http://schemas.openxmlformats.org/drawingml/2006/main">
  <dgm:ptLst>
    <dgm:pt modelId="{7D015C25-D274-4DD4-A8E3-370FD1A5676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4B8DF9EC-513C-4242-9EF7-06AC94FD0C25}">
      <dgm:prSet/>
      <dgm:spPr/>
      <dgm:t>
        <a:bodyPr/>
        <a:lstStyle/>
        <a:p>
          <a:pPr rtl="0"/>
          <a:r>
            <a:rPr lang="it-IT" dirty="0" smtClean="0"/>
            <a:t>Creazione di un nuovo tessuto produttivo innovation based</a:t>
          </a:r>
          <a:endParaRPr lang="it-IT" dirty="0"/>
        </a:p>
      </dgm:t>
    </dgm:pt>
    <dgm:pt modelId="{D983F1C9-8BC8-4602-A3F2-93DDE7DAAB0D}" type="parTrans" cxnId="{475FE5F3-6E68-4A02-B4FD-AE07C5326B6F}">
      <dgm:prSet/>
      <dgm:spPr/>
      <dgm:t>
        <a:bodyPr/>
        <a:lstStyle/>
        <a:p>
          <a:endParaRPr lang="it-IT"/>
        </a:p>
      </dgm:t>
    </dgm:pt>
    <dgm:pt modelId="{2EB66F02-20B0-4768-B7F1-3FF5151FA168}" type="sibTrans" cxnId="{475FE5F3-6E68-4A02-B4FD-AE07C5326B6F}">
      <dgm:prSet/>
      <dgm:spPr/>
      <dgm:t>
        <a:bodyPr/>
        <a:lstStyle/>
        <a:p>
          <a:endParaRPr lang="it-IT"/>
        </a:p>
      </dgm:t>
    </dgm:pt>
    <dgm:pt modelId="{D9605F58-5920-4B30-ABCB-8F331F35C100}" type="pres">
      <dgm:prSet presAssocID="{7D015C25-D274-4DD4-A8E3-370FD1A5676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5E72158-CB87-4623-BAB3-0A89D8A44D36}" type="pres">
      <dgm:prSet presAssocID="{4B8DF9EC-513C-4242-9EF7-06AC94FD0C25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BB9A8335-CBC2-4FDE-B5FC-EB51E41AB632}" type="presOf" srcId="{7D015C25-D274-4DD4-A8E3-370FD1A56760}" destId="{D9605F58-5920-4B30-ABCB-8F331F35C100}" srcOrd="0" destOrd="0" presId="urn:microsoft.com/office/officeart/2005/8/layout/vList2"/>
    <dgm:cxn modelId="{4598C224-CBDB-4476-85A1-4374BA902DC9}" type="presOf" srcId="{4B8DF9EC-513C-4242-9EF7-06AC94FD0C25}" destId="{A5E72158-CB87-4623-BAB3-0A89D8A44D36}" srcOrd="0" destOrd="0" presId="urn:microsoft.com/office/officeart/2005/8/layout/vList2"/>
    <dgm:cxn modelId="{475FE5F3-6E68-4A02-B4FD-AE07C5326B6F}" srcId="{7D015C25-D274-4DD4-A8E3-370FD1A56760}" destId="{4B8DF9EC-513C-4242-9EF7-06AC94FD0C25}" srcOrd="0" destOrd="0" parTransId="{D983F1C9-8BC8-4602-A3F2-93DDE7DAAB0D}" sibTransId="{2EB66F02-20B0-4768-B7F1-3FF5151FA168}"/>
    <dgm:cxn modelId="{B1EC3BA5-BD1D-4500-A114-1FC6606144A0}" type="presParOf" srcId="{D9605F58-5920-4B30-ABCB-8F331F35C100}" destId="{A5E72158-CB87-4623-BAB3-0A89D8A44D3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/>
      <dgm:spPr/>
      <dgm:t>
        <a:bodyPr/>
        <a:lstStyle/>
        <a:p>
          <a:r>
            <a:rPr lang="it-IT" b="1" dirty="0" smtClean="0"/>
            <a:t>APPROCCIO BOTTOM UP</a:t>
          </a:r>
          <a:endParaRPr lang="it-IT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I partecipanti al tavolo hanno il compito di </a:t>
          </a:r>
          <a:r>
            <a:rPr lang="it-IT" sz="3600" b="0" u="sng" dirty="0" smtClean="0">
              <a:solidFill>
                <a:srgbClr val="FF0000"/>
              </a:solidFill>
            </a:rPr>
            <a:t>condividere e fornire  conoscenze </a:t>
          </a:r>
          <a:r>
            <a:rPr lang="it-IT" sz="3600" b="0" dirty="0" smtClean="0">
              <a:solidFill>
                <a:schemeClr val="accent1"/>
              </a:solidFill>
            </a:rPr>
            <a:t>in termini di analisi, diagnosi, </a:t>
          </a:r>
          <a:r>
            <a:rPr lang="it-IT" sz="3600" b="0" dirty="0" err="1" smtClean="0">
              <a:solidFill>
                <a:schemeClr val="accent1"/>
              </a:solidFill>
            </a:rPr>
            <a:t>vision</a:t>
          </a:r>
          <a:r>
            <a:rPr lang="it-IT" sz="3600" b="0" dirty="0" smtClean="0">
              <a:solidFill>
                <a:schemeClr val="accent1"/>
              </a:solidFill>
            </a:rPr>
            <a:t> per </a:t>
          </a:r>
          <a:r>
            <a:rPr lang="it-IT" sz="3600" b="0" u="sng" dirty="0" smtClean="0">
              <a:solidFill>
                <a:srgbClr val="FF0000"/>
              </a:solidFill>
            </a:rPr>
            <a:t>completare</a:t>
          </a:r>
          <a:r>
            <a:rPr lang="it-IT" sz="3600" b="0" dirty="0" smtClean="0">
              <a:solidFill>
                <a:schemeClr val="accent1"/>
              </a:solidFill>
            </a:rPr>
            <a:t>  la definizione della RIS 3 Sicilia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3B7EB68D-5325-4D77-979A-87095C4BAA6A}" type="presOf" srcId="{FA935D20-D649-4F38-A41B-69E90530D632}" destId="{19C3370D-7B6A-4F3C-8C78-C38DF1D2FA31}" srcOrd="0" destOrd="0" presId="urn:microsoft.com/office/officeart/2005/8/layout/vList5"/>
    <dgm:cxn modelId="{7E4659ED-8963-4D4F-8A42-73A454F02CAB}" type="presOf" srcId="{BE3B8733-AE13-4A7B-A32B-B74DE4C528D7}" destId="{67CAF0F0-11C7-41D4-B458-17DD1ACC65D7}" srcOrd="0" destOrd="0" presId="urn:microsoft.com/office/officeart/2005/8/layout/vList5"/>
    <dgm:cxn modelId="{649C20EC-A740-42B6-9001-3C08A17DD3CC}" type="presOf" srcId="{F23A2E33-A7A9-4C0C-9E2D-FE9B09B27B0C}" destId="{4B75031E-EAE2-44AE-A204-79AAE3CD8BF2}" srcOrd="0" destOrd="0" presId="urn:microsoft.com/office/officeart/2005/8/layout/vList5"/>
    <dgm:cxn modelId="{33089BC5-B0C8-4CCC-8CC6-7169992A32F5}" type="presParOf" srcId="{67CAF0F0-11C7-41D4-B458-17DD1ACC65D7}" destId="{91EF4C2B-0965-4D66-A48D-ECB7ACAE5C2D}" srcOrd="0" destOrd="0" presId="urn:microsoft.com/office/officeart/2005/8/layout/vList5"/>
    <dgm:cxn modelId="{36401336-79BD-4BC5-85D9-9263D2A0CB72}" type="presParOf" srcId="{91EF4C2B-0965-4D66-A48D-ECB7ACAE5C2D}" destId="{4B75031E-EAE2-44AE-A204-79AAE3CD8BF2}" srcOrd="0" destOrd="0" presId="urn:microsoft.com/office/officeart/2005/8/layout/vList5"/>
    <dgm:cxn modelId="{5E1660F5-0D60-4E41-8009-7E77FD0F1AB4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0.xml><?xml version="1.0" encoding="utf-8"?>
<dgm:dataModel xmlns:dgm="http://schemas.openxmlformats.org/drawingml/2006/diagram" xmlns:a="http://schemas.openxmlformats.org/drawingml/2006/main">
  <dgm:ptLst>
    <dgm:pt modelId="{54395A23-3C95-4CBC-9E16-034A70E80C7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342C2DC4-F633-4C80-8A7C-2DFCF0691567}">
      <dgm:prSet/>
      <dgm:spPr/>
      <dgm:t>
        <a:bodyPr/>
        <a:lstStyle/>
        <a:p>
          <a:pPr rtl="0"/>
          <a:r>
            <a:rPr lang="it-IT" dirty="0" smtClean="0"/>
            <a:t>Sostegno all’uso diffuso delle Innovazioni  (anche non </a:t>
          </a:r>
          <a:r>
            <a:rPr lang="it-IT" dirty="0" err="1" smtClean="0"/>
            <a:t>tech</a:t>
          </a:r>
          <a:r>
            <a:rPr lang="it-IT" dirty="0" smtClean="0"/>
            <a:t>) in risposta alle sfide sociali emergenti negli ambienti urbani e marginali</a:t>
          </a:r>
          <a:endParaRPr lang="it-IT" dirty="0"/>
        </a:p>
      </dgm:t>
    </dgm:pt>
    <dgm:pt modelId="{64F10A69-B06F-439A-978F-86236E0EED9C}" type="parTrans" cxnId="{B6C8E77B-179A-4EF2-8B05-541CDA249637}">
      <dgm:prSet/>
      <dgm:spPr/>
      <dgm:t>
        <a:bodyPr/>
        <a:lstStyle/>
        <a:p>
          <a:endParaRPr lang="it-IT"/>
        </a:p>
      </dgm:t>
    </dgm:pt>
    <dgm:pt modelId="{0DB94241-3B8B-4153-8F2C-70BD3A18212B}" type="sibTrans" cxnId="{B6C8E77B-179A-4EF2-8B05-541CDA249637}">
      <dgm:prSet/>
      <dgm:spPr/>
      <dgm:t>
        <a:bodyPr/>
        <a:lstStyle/>
        <a:p>
          <a:endParaRPr lang="it-IT"/>
        </a:p>
      </dgm:t>
    </dgm:pt>
    <dgm:pt modelId="{57F98EC0-5F68-4A62-9815-9F2088DB35F4}" type="pres">
      <dgm:prSet presAssocID="{54395A23-3C95-4CBC-9E16-034A70E80C7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E4CACD3-EE37-4975-9E62-2F328C6C370E}" type="pres">
      <dgm:prSet presAssocID="{342C2DC4-F633-4C80-8A7C-2DFCF0691567}" presName="parentText" presStyleLbl="node1" presStyleIdx="0" presStyleCnt="1" custLinFactNeighborY="-496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D9131B66-D5E6-450D-9981-7D8B292B69FE}" type="presOf" srcId="{54395A23-3C95-4CBC-9E16-034A70E80C7A}" destId="{57F98EC0-5F68-4A62-9815-9F2088DB35F4}" srcOrd="0" destOrd="0" presId="urn:microsoft.com/office/officeart/2005/8/layout/vList2"/>
    <dgm:cxn modelId="{B6C8E77B-179A-4EF2-8B05-541CDA249637}" srcId="{54395A23-3C95-4CBC-9E16-034A70E80C7A}" destId="{342C2DC4-F633-4C80-8A7C-2DFCF0691567}" srcOrd="0" destOrd="0" parTransId="{64F10A69-B06F-439A-978F-86236E0EED9C}" sibTransId="{0DB94241-3B8B-4153-8F2C-70BD3A18212B}"/>
    <dgm:cxn modelId="{2E5F5972-DA4D-48C9-8046-BAE38D4B46DD}" type="presOf" srcId="{342C2DC4-F633-4C80-8A7C-2DFCF0691567}" destId="{EE4CACD3-EE37-4975-9E62-2F328C6C370E}" srcOrd="0" destOrd="0" presId="urn:microsoft.com/office/officeart/2005/8/layout/vList2"/>
    <dgm:cxn modelId="{AC56E86C-286A-4B55-852F-CD4E0A09534F}" type="presParOf" srcId="{57F98EC0-5F68-4A62-9815-9F2088DB35F4}" destId="{EE4CACD3-EE37-4975-9E62-2F328C6C370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41.xml><?xml version="1.0" encoding="utf-8"?>
<dgm:dataModel xmlns:dgm="http://schemas.openxmlformats.org/drawingml/2006/diagram" xmlns:a="http://schemas.openxmlformats.org/drawingml/2006/main">
  <dgm:ptLst>
    <dgm:pt modelId="{B7C63F1F-37AF-49BC-BBEB-5E74A137DE0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75218A5C-A37B-4816-9306-EEA349973F5E}">
      <dgm:prSet/>
      <dgm:spPr/>
      <dgm:t>
        <a:bodyPr/>
        <a:lstStyle/>
        <a:p>
          <a:pPr rtl="0"/>
          <a:r>
            <a:rPr lang="it-IT" dirty="0" smtClean="0"/>
            <a:t>Sostegno a nuove categorie di innovatori sociali e di creativi  culturali </a:t>
          </a:r>
          <a:endParaRPr lang="it-IT" dirty="0"/>
        </a:p>
      </dgm:t>
    </dgm:pt>
    <dgm:pt modelId="{A7D65231-8A40-4214-86D2-04268A6CD1AB}" type="parTrans" cxnId="{67585602-D54D-4782-9537-8870E433BAC0}">
      <dgm:prSet/>
      <dgm:spPr/>
      <dgm:t>
        <a:bodyPr/>
        <a:lstStyle/>
        <a:p>
          <a:endParaRPr lang="it-IT"/>
        </a:p>
      </dgm:t>
    </dgm:pt>
    <dgm:pt modelId="{BB6D7AD5-3235-4C94-9B20-0BBCB424F3DA}" type="sibTrans" cxnId="{67585602-D54D-4782-9537-8870E433BAC0}">
      <dgm:prSet/>
      <dgm:spPr/>
      <dgm:t>
        <a:bodyPr/>
        <a:lstStyle/>
        <a:p>
          <a:endParaRPr lang="it-IT"/>
        </a:p>
      </dgm:t>
    </dgm:pt>
    <dgm:pt modelId="{3E7B7DB2-5C50-46DE-8199-527C1A2C9C81}" type="pres">
      <dgm:prSet presAssocID="{B7C63F1F-37AF-49BC-BBEB-5E74A137DE0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86AD86E-5163-40B0-AE34-CC51738A6EFB}" type="pres">
      <dgm:prSet presAssocID="{75218A5C-A37B-4816-9306-EEA349973F5E}" presName="parentText" presStyleLbl="node1" presStyleIdx="0" presStyleCnt="1" custLinFactNeighborY="-27492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C522B7EC-ECB5-45FC-886B-3496A31C81FB}" type="presOf" srcId="{B7C63F1F-37AF-49BC-BBEB-5E74A137DE0D}" destId="{3E7B7DB2-5C50-46DE-8199-527C1A2C9C81}" srcOrd="0" destOrd="0" presId="urn:microsoft.com/office/officeart/2005/8/layout/vList2"/>
    <dgm:cxn modelId="{67585602-D54D-4782-9537-8870E433BAC0}" srcId="{B7C63F1F-37AF-49BC-BBEB-5E74A137DE0D}" destId="{75218A5C-A37B-4816-9306-EEA349973F5E}" srcOrd="0" destOrd="0" parTransId="{A7D65231-8A40-4214-86D2-04268A6CD1AB}" sibTransId="{BB6D7AD5-3235-4C94-9B20-0BBCB424F3DA}"/>
    <dgm:cxn modelId="{EDA076B5-F6DC-4B2C-93AD-47D894B6594E}" type="presOf" srcId="{75218A5C-A37B-4816-9306-EEA349973F5E}" destId="{486AD86E-5163-40B0-AE34-CC51738A6EFB}" srcOrd="0" destOrd="0" presId="urn:microsoft.com/office/officeart/2005/8/layout/vList2"/>
    <dgm:cxn modelId="{2E3B5B78-D812-4DFC-B227-8916A07E635C}" type="presParOf" srcId="{3E7B7DB2-5C50-46DE-8199-527C1A2C9C81}" destId="{486AD86E-5163-40B0-AE34-CC51738A6EFB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ata42.xml><?xml version="1.0" encoding="utf-8"?>
<dgm:dataModel xmlns:dgm="http://schemas.openxmlformats.org/drawingml/2006/diagram" xmlns:a="http://schemas.openxmlformats.org/drawingml/2006/main">
  <dgm:ptLst>
    <dgm:pt modelId="{9F45F9F9-E7F1-4D12-B562-AA4345E774A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BA2B7103-6937-4879-B678-0F2246078975}">
      <dgm:prSet custT="1"/>
      <dgm:spPr/>
      <dgm:t>
        <a:bodyPr/>
        <a:lstStyle/>
        <a:p>
          <a:pPr rtl="0"/>
          <a:r>
            <a:rPr lang="it-IT" sz="1100" dirty="0" smtClean="0"/>
            <a:t>Diffusione della cultura dell’innovazione a tutti i livelli della società regionale</a:t>
          </a:r>
          <a:endParaRPr lang="it-IT" sz="1100" dirty="0"/>
        </a:p>
      </dgm:t>
    </dgm:pt>
    <dgm:pt modelId="{03FB00C7-8265-4781-A621-250439406826}" type="parTrans" cxnId="{A0A4B6A5-0FAC-4873-B138-51F3385522E4}">
      <dgm:prSet/>
      <dgm:spPr/>
      <dgm:t>
        <a:bodyPr/>
        <a:lstStyle/>
        <a:p>
          <a:endParaRPr lang="it-IT"/>
        </a:p>
      </dgm:t>
    </dgm:pt>
    <dgm:pt modelId="{3622B74C-A085-4A94-9A74-FADC376FB6FA}" type="sibTrans" cxnId="{A0A4B6A5-0FAC-4873-B138-51F3385522E4}">
      <dgm:prSet/>
      <dgm:spPr/>
      <dgm:t>
        <a:bodyPr/>
        <a:lstStyle/>
        <a:p>
          <a:endParaRPr lang="it-IT"/>
        </a:p>
      </dgm:t>
    </dgm:pt>
    <dgm:pt modelId="{C64E127B-0611-40E3-A846-DBF56D81913E}" type="pres">
      <dgm:prSet presAssocID="{9F45F9F9-E7F1-4D12-B562-AA4345E774A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9E7FA22-3B92-4733-BB85-6986F285FB2A}" type="pres">
      <dgm:prSet presAssocID="{BA2B7103-6937-4879-B678-0F2246078975}" presName="parentText" presStyleLbl="node1" presStyleIdx="0" presStyleCnt="1" custLinFactNeighborX="-475" custLinFactNeighborY="-4386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0A4B6A5-0FAC-4873-B138-51F3385522E4}" srcId="{9F45F9F9-E7F1-4D12-B562-AA4345E774A4}" destId="{BA2B7103-6937-4879-B678-0F2246078975}" srcOrd="0" destOrd="0" parTransId="{03FB00C7-8265-4781-A621-250439406826}" sibTransId="{3622B74C-A085-4A94-9A74-FADC376FB6FA}"/>
    <dgm:cxn modelId="{4164BAD4-D6BA-41A0-AD19-65209D5FE5BF}" type="presOf" srcId="{BA2B7103-6937-4879-B678-0F2246078975}" destId="{A9E7FA22-3B92-4733-BB85-6986F285FB2A}" srcOrd="0" destOrd="0" presId="urn:microsoft.com/office/officeart/2005/8/layout/vList2"/>
    <dgm:cxn modelId="{5AACAB08-07FE-4BBA-AD8F-40F4946B0EC0}" type="presOf" srcId="{9F45F9F9-E7F1-4D12-B562-AA4345E774A4}" destId="{C64E127B-0611-40E3-A846-DBF56D81913E}" srcOrd="0" destOrd="0" presId="urn:microsoft.com/office/officeart/2005/8/layout/vList2"/>
    <dgm:cxn modelId="{6CE3568B-1A30-498A-B57F-70EAB90E3FE2}" type="presParOf" srcId="{C64E127B-0611-40E3-A846-DBF56D81913E}" destId="{A9E7FA22-3B92-4733-BB85-6986F285FB2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43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Accordi di Programma/ITI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r>
            <a:rPr lang="it-IT" sz="1500" i="1" dirty="0" smtClean="0">
              <a:latin typeface="Calibri" panose="020F0502020204030204" pitchFamily="34" charset="0"/>
            </a:rPr>
            <a:t>Procedure negoziali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7DA99653-D4C7-40AB-9625-9BDB5068FDD2}" type="presOf" srcId="{886FCA53-2B50-4919-9D84-B3341636C061}" destId="{AF161DBD-193F-4E53-9953-839E85CF1C7D}" srcOrd="0" destOrd="0" presId="urn:microsoft.com/office/officeart/2008/layout/VerticalCircleList"/>
    <dgm:cxn modelId="{7958A77E-8BB6-432C-A969-461B37889253}" type="presOf" srcId="{DF7312F5-2151-4B18-9FE3-27B38D9DAE81}" destId="{1EF007DE-E38E-41BB-9C84-DBA6EE5550E0}" srcOrd="0" destOrd="0" presId="urn:microsoft.com/office/officeart/2008/layout/VerticalCircleList"/>
    <dgm:cxn modelId="{582DC157-B48E-4BBF-BC4E-6039CED23578}" type="presParOf" srcId="{AF161DBD-193F-4E53-9953-839E85CF1C7D}" destId="{41EEB0CA-07A8-4FF5-8967-C48F01E36B29}" srcOrd="0" destOrd="0" presId="urn:microsoft.com/office/officeart/2008/layout/VerticalCircleList"/>
    <dgm:cxn modelId="{3D40BEAA-3AB2-488C-A4BA-00106D2B25EF}" type="presParOf" srcId="{41EEB0CA-07A8-4FF5-8967-C48F01E36B29}" destId="{AAA1C512-E96F-4798-9282-083A0E274468}" srcOrd="0" destOrd="0" presId="urn:microsoft.com/office/officeart/2008/layout/VerticalCircleList"/>
    <dgm:cxn modelId="{7DECEB88-7DA7-4EEC-8205-58DA4DDEFD6F}" type="presParOf" srcId="{41EEB0CA-07A8-4FF5-8967-C48F01E36B29}" destId="{74BC567D-A420-4605-8CAF-34A3430FBCC5}" srcOrd="1" destOrd="0" presId="urn:microsoft.com/office/officeart/2008/layout/VerticalCircleList"/>
    <dgm:cxn modelId="{E140F11E-37CB-4865-879E-96159FD0BECE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4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Contratti di Rete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 </a:t>
          </a:r>
          <a:r>
            <a:rPr lang="it-IT" sz="1500" b="0" i="1" dirty="0" smtClean="0">
              <a:latin typeface="Calibri" panose="020F0502020204030204" pitchFamily="34" charset="0"/>
            </a:rPr>
            <a:t>Procedure negoziali </a:t>
          </a:r>
          <a:endParaRPr lang="it-IT" sz="1500" b="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436A78B8-30EB-4C73-A6C6-D68DEC36D6D6}" type="presOf" srcId="{DF7312F5-2151-4B18-9FE3-27B38D9DAE81}" destId="{1EF007DE-E38E-41BB-9C84-DBA6EE5550E0}" srcOrd="0" destOrd="0" presId="urn:microsoft.com/office/officeart/2008/layout/VerticalCircleList"/>
    <dgm:cxn modelId="{967539C0-8DC7-4A22-9A40-09173DDA6AEB}" type="presOf" srcId="{886FCA53-2B50-4919-9D84-B3341636C061}" destId="{AF161DBD-193F-4E53-9953-839E85CF1C7D}" srcOrd="0" destOrd="0" presId="urn:microsoft.com/office/officeart/2008/layout/VerticalCircleList"/>
    <dgm:cxn modelId="{3E7328A9-F51A-4F25-A21A-899F561C4BF1}" type="presParOf" srcId="{AF161DBD-193F-4E53-9953-839E85CF1C7D}" destId="{41EEB0CA-07A8-4FF5-8967-C48F01E36B29}" srcOrd="0" destOrd="0" presId="urn:microsoft.com/office/officeart/2008/layout/VerticalCircleList"/>
    <dgm:cxn modelId="{EFE12769-7E98-4F3A-9ADF-3B9533DA7B6A}" type="presParOf" srcId="{41EEB0CA-07A8-4FF5-8967-C48F01E36B29}" destId="{AAA1C512-E96F-4798-9282-083A0E274468}" srcOrd="0" destOrd="0" presId="urn:microsoft.com/office/officeart/2008/layout/VerticalCircleList"/>
    <dgm:cxn modelId="{A2B880D4-B801-4677-896D-0F9CA8362CCE}" type="presParOf" srcId="{41EEB0CA-07A8-4FF5-8967-C48F01E36B29}" destId="{74BC567D-A420-4605-8CAF-34A3430FBCC5}" srcOrd="1" destOrd="0" presId="urn:microsoft.com/office/officeart/2008/layout/VerticalCircleList"/>
    <dgm:cxn modelId="{54A40119-E6CE-48F2-B16D-86A9AB716466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5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Incentivi a Start up e spin off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19A5DE96-9C77-4027-BFB3-C0CDF53C79AB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B2DAD968-B61C-453B-94A6-C48A273586A3}" type="presOf" srcId="{886FCA53-2B50-4919-9D84-B3341636C061}" destId="{AF161DBD-193F-4E53-9953-839E85CF1C7D}" srcOrd="0" destOrd="0" presId="urn:microsoft.com/office/officeart/2008/layout/VerticalCircleList"/>
    <dgm:cxn modelId="{9A4F3FFC-FBAD-4679-A048-3B8FC9D8135C}" type="presParOf" srcId="{AF161DBD-193F-4E53-9953-839E85CF1C7D}" destId="{41EEB0CA-07A8-4FF5-8967-C48F01E36B29}" srcOrd="0" destOrd="0" presId="urn:microsoft.com/office/officeart/2008/layout/VerticalCircleList"/>
    <dgm:cxn modelId="{C2673575-19C9-4A6B-8259-996B5EF21BA8}" type="presParOf" srcId="{41EEB0CA-07A8-4FF5-8967-C48F01E36B29}" destId="{AAA1C512-E96F-4798-9282-083A0E274468}" srcOrd="0" destOrd="0" presId="urn:microsoft.com/office/officeart/2008/layout/VerticalCircleList"/>
    <dgm:cxn modelId="{B3AE2EE3-3B4C-4EAB-962A-E2C8DEC52C14}" type="presParOf" srcId="{41EEB0CA-07A8-4FF5-8967-C48F01E36B29}" destId="{74BC567D-A420-4605-8CAF-34A3430FBCC5}" srcOrd="1" destOrd="0" presId="urn:microsoft.com/office/officeart/2008/layout/VerticalCircleList"/>
    <dgm:cxn modelId="{0708EDA7-00BA-414D-AC1B-50EECFDD1514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6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Sostegno a Cluster Nazionali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8590ABC2-2DB4-4AA9-87E1-220A96CDF071}" type="presOf" srcId="{DF7312F5-2151-4B18-9FE3-27B38D9DAE81}" destId="{1EF007DE-E38E-41BB-9C84-DBA6EE5550E0}" srcOrd="0" destOrd="0" presId="urn:microsoft.com/office/officeart/2008/layout/VerticalCircleList"/>
    <dgm:cxn modelId="{68741543-B658-4A25-A276-C9A534DE4F30}" type="presOf" srcId="{886FCA53-2B50-4919-9D84-B3341636C061}" destId="{AF161DBD-193F-4E53-9953-839E85CF1C7D}" srcOrd="0" destOrd="0" presId="urn:microsoft.com/office/officeart/2008/layout/VerticalCircleList"/>
    <dgm:cxn modelId="{94F1383A-E25C-413A-B549-E2FA791C5284}" type="presParOf" srcId="{AF161DBD-193F-4E53-9953-839E85CF1C7D}" destId="{41EEB0CA-07A8-4FF5-8967-C48F01E36B29}" srcOrd="0" destOrd="0" presId="urn:microsoft.com/office/officeart/2008/layout/VerticalCircleList"/>
    <dgm:cxn modelId="{1D3E7F6B-9FF6-4836-86CC-FD220EAE57F6}" type="presParOf" srcId="{41EEB0CA-07A8-4FF5-8967-C48F01E36B29}" destId="{AAA1C512-E96F-4798-9282-083A0E274468}" srcOrd="0" destOrd="0" presId="urn:microsoft.com/office/officeart/2008/layout/VerticalCircleList"/>
    <dgm:cxn modelId="{6CA2E795-829A-46EB-9489-33CFB983D574}" type="presParOf" srcId="{41EEB0CA-07A8-4FF5-8967-C48F01E36B29}" destId="{74BC567D-A420-4605-8CAF-34A3430FBCC5}" srcOrd="1" destOrd="0" presId="urn:microsoft.com/office/officeart/2008/layout/VerticalCircleList"/>
    <dgm:cxn modelId="{2F5359E7-D79A-4B1B-910C-889BB02A434F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47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Cofinanziamento progetti Horizon 2020 </a:t>
          </a:r>
          <a:endParaRPr lang="it-IT" sz="1500" b="1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726D6F73-D18D-4A32-AE9C-7443F9956FE3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5248E0B8-C7A5-4AB9-BCCE-4B58784B297A}" type="presOf" srcId="{DF7312F5-2151-4B18-9FE3-27B38D9DAE81}" destId="{1EF007DE-E38E-41BB-9C84-DBA6EE5550E0}" srcOrd="0" destOrd="0" presId="urn:microsoft.com/office/officeart/2008/layout/VerticalCircleList"/>
    <dgm:cxn modelId="{178B757A-840B-4918-8103-BB1BB460E0A5}" type="presParOf" srcId="{AF161DBD-193F-4E53-9953-839E85CF1C7D}" destId="{41EEB0CA-07A8-4FF5-8967-C48F01E36B29}" srcOrd="0" destOrd="0" presId="urn:microsoft.com/office/officeart/2008/layout/VerticalCircleList"/>
    <dgm:cxn modelId="{6C09A95E-74FD-4125-B619-B756AD6CA49A}" type="presParOf" srcId="{41EEB0CA-07A8-4FF5-8967-C48F01E36B29}" destId="{AAA1C512-E96F-4798-9282-083A0E274468}" srcOrd="0" destOrd="0" presId="urn:microsoft.com/office/officeart/2008/layout/VerticalCircleList"/>
    <dgm:cxn modelId="{947710A6-A7AB-4B9A-8758-657232E0595D}" type="presParOf" srcId="{41EEB0CA-07A8-4FF5-8967-C48F01E36B29}" destId="{74BC567D-A420-4605-8CAF-34A3430FBCC5}" srcOrd="1" destOrd="0" presId="urn:microsoft.com/office/officeart/2008/layout/VerticalCircleList"/>
    <dgm:cxn modelId="{B0E85119-77EB-4DA2-9471-FAF6C7EDF4AE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48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Sostegno a Fondi di Venture Capital 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FEE3772A-A727-436E-AC85-379084A90549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1491FBED-A7AA-4273-9D7F-4251B11BA3A9}" type="presOf" srcId="{DF7312F5-2151-4B18-9FE3-27B38D9DAE81}" destId="{1EF007DE-E38E-41BB-9C84-DBA6EE5550E0}" srcOrd="0" destOrd="0" presId="urn:microsoft.com/office/officeart/2008/layout/VerticalCircleList"/>
    <dgm:cxn modelId="{A66611F2-75D0-4A9B-8D18-F5C6D9E8EA27}" type="presParOf" srcId="{AF161DBD-193F-4E53-9953-839E85CF1C7D}" destId="{41EEB0CA-07A8-4FF5-8967-C48F01E36B29}" srcOrd="0" destOrd="0" presId="urn:microsoft.com/office/officeart/2008/layout/VerticalCircleList"/>
    <dgm:cxn modelId="{AA0605B0-7452-4AB0-9365-6A94D838927C}" type="presParOf" srcId="{41EEB0CA-07A8-4FF5-8967-C48F01E36B29}" destId="{AAA1C512-E96F-4798-9282-083A0E274468}" srcOrd="0" destOrd="0" presId="urn:microsoft.com/office/officeart/2008/layout/VerticalCircleList"/>
    <dgm:cxn modelId="{90D82D95-4C7B-4817-81F5-37AEFEBDA821}" type="presParOf" srcId="{41EEB0CA-07A8-4FF5-8967-C48F01E36B29}" destId="{74BC567D-A420-4605-8CAF-34A3430FBCC5}" srcOrd="1" destOrd="0" presId="urn:microsoft.com/office/officeart/2008/layout/VerticalCircleList"/>
    <dgm:cxn modelId="{1A95131E-C081-4780-8C25-B3B965E578CE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49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algn="just"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solidFill>
                <a:schemeClr val="tx1"/>
              </a:solidFill>
              <a:latin typeface="Calibri" panose="020F0502020204030204" pitchFamily="34" charset="0"/>
            </a:rPr>
            <a:t>Incentivi</a:t>
          </a:r>
        </a:p>
        <a:p>
          <a:pPr algn="l"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dirty="0" smtClean="0">
              <a:solidFill>
                <a:schemeClr val="tx1"/>
              </a:solidFill>
              <a:latin typeface="Calibri" panose="020F0502020204030204" pitchFamily="34" charset="0"/>
            </a:rPr>
            <a:t>a</a:t>
          </a:r>
          <a:r>
            <a:rPr lang="it-IT" sz="1500" b="1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dirty="0" smtClean="0">
              <a:solidFill>
                <a:schemeClr val="tx1"/>
              </a:solidFill>
              <a:latin typeface="Calibri" panose="020F0502020204030204" pitchFamily="34" charset="0"/>
            </a:rPr>
            <a:t>brevettazione, prototipazione e copertura costi fase pre seed</a:t>
          </a:r>
          <a:endParaRPr lang="it-IT" sz="1500" b="0" i="1" dirty="0">
            <a:solidFill>
              <a:schemeClr val="tx1"/>
            </a:solidFill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B229E876-E405-4A8E-BCEA-8C5108409886}" type="presOf" srcId="{DF7312F5-2151-4B18-9FE3-27B38D9DAE81}" destId="{1EF007DE-E38E-41BB-9C84-DBA6EE5550E0}" srcOrd="0" destOrd="0" presId="urn:microsoft.com/office/officeart/2008/layout/VerticalCircleList"/>
    <dgm:cxn modelId="{12DA6FCD-EEDE-429A-8AA4-1EFB7B791D5B}" type="presOf" srcId="{886FCA53-2B50-4919-9D84-B3341636C061}" destId="{AF161DBD-193F-4E53-9953-839E85CF1C7D}" srcOrd="0" destOrd="0" presId="urn:microsoft.com/office/officeart/2008/layout/VerticalCircleList"/>
    <dgm:cxn modelId="{7552D38D-10DB-4874-917B-A5B79266548F}" type="presParOf" srcId="{AF161DBD-193F-4E53-9953-839E85CF1C7D}" destId="{41EEB0CA-07A8-4FF5-8967-C48F01E36B29}" srcOrd="0" destOrd="0" presId="urn:microsoft.com/office/officeart/2008/layout/VerticalCircleList"/>
    <dgm:cxn modelId="{F2F5025F-2D52-4500-81CC-1EAAE40C6501}" type="presParOf" srcId="{41EEB0CA-07A8-4FF5-8967-C48F01E36B29}" destId="{AAA1C512-E96F-4798-9282-083A0E274468}" srcOrd="0" destOrd="0" presId="urn:microsoft.com/office/officeart/2008/layout/VerticalCircleList"/>
    <dgm:cxn modelId="{ADFD79E6-2174-4948-AAAA-9FEA7BCE7D3E}" type="presParOf" srcId="{41EEB0CA-07A8-4FF5-8967-C48F01E36B29}" destId="{74BC567D-A420-4605-8CAF-34A3430FBCC5}" srcOrd="1" destOrd="0" presId="urn:microsoft.com/office/officeart/2008/layout/VerticalCircleList"/>
    <dgm:cxn modelId="{58BB7A32-9C2C-47A3-9894-75F1E355E34D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Cosa dobbiamo fare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5433976A-C422-43B3-8147-A37D8B43BE12}" type="presOf" srcId="{37F295A9-2A2E-416D-9AE6-C3404377959E}" destId="{58FB0A67-F67A-40BA-890E-A840ED83B605}" srcOrd="0" destOrd="0" presId="urn:microsoft.com/office/officeart/2008/layout/LinedList"/>
    <dgm:cxn modelId="{28070CF8-DB75-4382-9D86-4EDA4D4B5F71}" type="presOf" srcId="{2BF37BE0-F1C9-4327-8D6B-194C8F2CF94F}" destId="{7D920113-6D83-4974-923F-4CAA40CA2FDB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00C7C9BB-F444-4A96-8F7A-2053175715E5}" type="presParOf" srcId="{58FB0A67-F67A-40BA-890E-A840ED83B605}" destId="{AB26EC88-0333-42E8-B340-C2B4FE18384A}" srcOrd="0" destOrd="0" presId="urn:microsoft.com/office/officeart/2008/layout/LinedList"/>
    <dgm:cxn modelId="{BCB48218-AF09-4A53-A255-7429AD5C9588}" type="presParOf" srcId="{58FB0A67-F67A-40BA-890E-A840ED83B605}" destId="{45792684-4DE0-4EDD-B49A-A40AB3BD4B9E}" srcOrd="1" destOrd="0" presId="urn:microsoft.com/office/officeart/2008/layout/LinedList"/>
    <dgm:cxn modelId="{58959DDB-079A-46C5-8D29-85E1A0B3FF64}" type="presParOf" srcId="{45792684-4DE0-4EDD-B49A-A40AB3BD4B9E}" destId="{7D920113-6D83-4974-923F-4CAA40CA2FDB}" srcOrd="0" destOrd="0" presId="urn:microsoft.com/office/officeart/2008/layout/LinedList"/>
    <dgm:cxn modelId="{6BB70394-CE71-4393-82AA-BE0F39151A17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0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Voucher Tecnologici e all’acquisizione di KIBS 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B99D1D9C-32DA-4C81-93DD-C4BBFA356916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EEB5C0C0-7921-4438-AB72-CB80DAB162A0}" type="presOf" srcId="{886FCA53-2B50-4919-9D84-B3341636C061}" destId="{AF161DBD-193F-4E53-9953-839E85CF1C7D}" srcOrd="0" destOrd="0" presId="urn:microsoft.com/office/officeart/2008/layout/VerticalCircleList"/>
    <dgm:cxn modelId="{D91AC435-6FB4-4408-9133-87244097D9EC}" type="presParOf" srcId="{AF161DBD-193F-4E53-9953-839E85CF1C7D}" destId="{41EEB0CA-07A8-4FF5-8967-C48F01E36B29}" srcOrd="0" destOrd="0" presId="urn:microsoft.com/office/officeart/2008/layout/VerticalCircleList"/>
    <dgm:cxn modelId="{AA1FA9CC-171F-47CF-B437-C5B7D0CAD074}" type="presParOf" srcId="{41EEB0CA-07A8-4FF5-8967-C48F01E36B29}" destId="{AAA1C512-E96F-4798-9282-083A0E274468}" srcOrd="0" destOrd="0" presId="urn:microsoft.com/office/officeart/2008/layout/VerticalCircleList"/>
    <dgm:cxn modelId="{80EDC067-2515-44F6-B496-25C5F5DCEAD4}" type="presParOf" srcId="{41EEB0CA-07A8-4FF5-8967-C48F01E36B29}" destId="{74BC567D-A420-4605-8CAF-34A3430FBCC5}" srcOrd="1" destOrd="0" presId="urn:microsoft.com/office/officeart/2008/layout/VerticalCircleList"/>
    <dgm:cxn modelId="{483B6E4A-D1DA-4DC1-B4C3-5B65E5E1127D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ata51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Incentivi all’innovazione sociale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7AAE4473-F914-48AE-AB32-B5B1B947022D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45A6E319-C08B-4A17-B6E4-FBA5DCB49576}" type="presOf" srcId="{886FCA53-2B50-4919-9D84-B3341636C061}" destId="{AF161DBD-193F-4E53-9953-839E85CF1C7D}" srcOrd="0" destOrd="0" presId="urn:microsoft.com/office/officeart/2008/layout/VerticalCircleList"/>
    <dgm:cxn modelId="{A3DEA0F8-C589-45C3-A189-E8653F55A5D8}" type="presParOf" srcId="{AF161DBD-193F-4E53-9953-839E85CF1C7D}" destId="{41EEB0CA-07A8-4FF5-8967-C48F01E36B29}" srcOrd="0" destOrd="0" presId="urn:microsoft.com/office/officeart/2008/layout/VerticalCircleList"/>
    <dgm:cxn modelId="{CF7DBD45-D2E2-44E8-B7BA-C5297C0247A1}" type="presParOf" srcId="{41EEB0CA-07A8-4FF5-8967-C48F01E36B29}" destId="{AAA1C512-E96F-4798-9282-083A0E274468}" srcOrd="0" destOrd="0" presId="urn:microsoft.com/office/officeart/2008/layout/VerticalCircleList"/>
    <dgm:cxn modelId="{E97F734F-AA65-41D6-8A54-19DA73362BE9}" type="presParOf" srcId="{41EEB0CA-07A8-4FF5-8967-C48F01E36B29}" destId="{74BC567D-A420-4605-8CAF-34A3430FBCC5}" srcOrd="1" destOrd="0" presId="urn:microsoft.com/office/officeart/2008/layout/VerticalCircleList"/>
    <dgm:cxn modelId="{73EEFBC4-E52B-4476-B68A-AEE080FE73B5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52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Azioni di attrazione di talenti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C8DDACBA-26FA-4C9F-90E1-B403FC1DD40B}" type="presOf" srcId="{886FCA53-2B50-4919-9D84-B3341636C061}" destId="{AF161DBD-193F-4E53-9953-839E85CF1C7D}" srcOrd="0" destOrd="0" presId="urn:microsoft.com/office/officeart/2008/layout/VerticalCircleList"/>
    <dgm:cxn modelId="{D87D485A-AC41-48D4-B985-23BE2076D450}" type="presOf" srcId="{DF7312F5-2151-4B18-9FE3-27B38D9DAE81}" destId="{1EF007DE-E38E-41BB-9C84-DBA6EE5550E0}" srcOrd="0" destOrd="0" presId="urn:microsoft.com/office/officeart/2008/layout/VerticalCircleList"/>
    <dgm:cxn modelId="{F4394C0E-3B39-4C73-AF95-3D708542680A}" type="presParOf" srcId="{AF161DBD-193F-4E53-9953-839E85CF1C7D}" destId="{41EEB0CA-07A8-4FF5-8967-C48F01E36B29}" srcOrd="0" destOrd="0" presId="urn:microsoft.com/office/officeart/2008/layout/VerticalCircleList"/>
    <dgm:cxn modelId="{1005D37D-BBB2-432E-94C6-6645E1BB419F}" type="presParOf" srcId="{41EEB0CA-07A8-4FF5-8967-C48F01E36B29}" destId="{AAA1C512-E96F-4798-9282-083A0E274468}" srcOrd="0" destOrd="0" presId="urn:microsoft.com/office/officeart/2008/layout/VerticalCircleList"/>
    <dgm:cxn modelId="{55E00159-EC33-46C5-BA25-41F2863C6195}" type="presParOf" srcId="{41EEB0CA-07A8-4FF5-8967-C48F01E36B29}" destId="{74BC567D-A420-4605-8CAF-34A3430FBCC5}" srcOrd="1" destOrd="0" presId="urn:microsoft.com/office/officeart/2008/layout/VerticalCircleList"/>
    <dgm:cxn modelId="{1B2B3C0D-5137-41D4-BD1D-15AEEE1EB2A2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56" minVer="http://schemas.openxmlformats.org/drawingml/2006/diagram"/>
    </a:ext>
  </dgm:extLst>
</dgm:dataModel>
</file>

<file path=ppt/diagrams/data53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Procurement</a:t>
          </a:r>
          <a:r>
            <a:rPr lang="it-IT" sz="1500" b="1" i="0" baseline="0" dirty="0" smtClean="0">
              <a:latin typeface="Calibri" panose="020F0502020204030204" pitchFamily="34" charset="0"/>
            </a:rPr>
            <a:t> precommerciale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5029C596-6813-45FC-BBF0-C0E520BA086B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4A70E531-FAB3-48A2-A58D-E24B2AAF21BE}" type="presOf" srcId="{DF7312F5-2151-4B18-9FE3-27B38D9DAE81}" destId="{1EF007DE-E38E-41BB-9C84-DBA6EE5550E0}" srcOrd="0" destOrd="0" presId="urn:microsoft.com/office/officeart/2008/layout/VerticalCircleList"/>
    <dgm:cxn modelId="{E1D9EB7A-BB1E-4B25-9FBF-55F4CE66CBC7}" type="presParOf" srcId="{AF161DBD-193F-4E53-9953-839E85CF1C7D}" destId="{41EEB0CA-07A8-4FF5-8967-C48F01E36B29}" srcOrd="0" destOrd="0" presId="urn:microsoft.com/office/officeart/2008/layout/VerticalCircleList"/>
    <dgm:cxn modelId="{2746A73B-F2AB-40D2-A788-29623E09889B}" type="presParOf" srcId="{41EEB0CA-07A8-4FF5-8967-C48F01E36B29}" destId="{AAA1C512-E96F-4798-9282-083A0E274468}" srcOrd="0" destOrd="0" presId="urn:microsoft.com/office/officeart/2008/layout/VerticalCircleList"/>
    <dgm:cxn modelId="{73D3B717-E707-4892-94FD-0773B20E1AAE}" type="presParOf" srcId="{41EEB0CA-07A8-4FF5-8967-C48F01E36B29}" destId="{74BC567D-A420-4605-8CAF-34A3430FBCC5}" srcOrd="1" destOrd="0" presId="urn:microsoft.com/office/officeart/2008/layout/VerticalCircleList"/>
    <dgm:cxn modelId="{005E4252-9259-461D-9088-3E47CC71F647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61" minVer="http://schemas.openxmlformats.org/drawingml/2006/diagram"/>
    </a:ext>
  </dgm:extLst>
</dgm:dataModel>
</file>

<file path=ppt/diagrams/data54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Living</a:t>
          </a:r>
          <a:r>
            <a:rPr lang="it-IT" sz="1500" b="1" i="0" baseline="0" dirty="0" smtClean="0">
              <a:latin typeface="Calibri" panose="020F0502020204030204" pitchFamily="34" charset="0"/>
            </a:rPr>
            <a:t> Labs e Fab Labs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2D712D39-29C7-4082-BEBB-21699B2B8281}" type="presOf" srcId="{DF7312F5-2151-4B18-9FE3-27B38D9DAE81}" destId="{1EF007DE-E38E-41BB-9C84-DBA6EE5550E0}" srcOrd="0" destOrd="0" presId="urn:microsoft.com/office/officeart/2008/layout/VerticalCircleList"/>
    <dgm:cxn modelId="{25BCC827-36E0-4B83-875C-C0EBD10193D6}" type="presOf" srcId="{886FCA53-2B50-4919-9D84-B3341636C061}" destId="{AF161DBD-193F-4E53-9953-839E85CF1C7D}" srcOrd="0" destOrd="0" presId="urn:microsoft.com/office/officeart/2008/layout/VerticalCircleList"/>
    <dgm:cxn modelId="{DB0B6548-5265-49E5-9B82-8D2EB72A8FAB}" type="presParOf" srcId="{AF161DBD-193F-4E53-9953-839E85CF1C7D}" destId="{41EEB0CA-07A8-4FF5-8967-C48F01E36B29}" srcOrd="0" destOrd="0" presId="urn:microsoft.com/office/officeart/2008/layout/VerticalCircleList"/>
    <dgm:cxn modelId="{0077A4AC-7129-464E-A07C-0B05C9CB6B77}" type="presParOf" srcId="{41EEB0CA-07A8-4FF5-8967-C48F01E36B29}" destId="{AAA1C512-E96F-4798-9282-083A0E274468}" srcOrd="0" destOrd="0" presId="urn:microsoft.com/office/officeart/2008/layout/VerticalCircleList"/>
    <dgm:cxn modelId="{5D999719-6A16-4C1E-8AA5-16CEE7BF9F2E}" type="presParOf" srcId="{41EEB0CA-07A8-4FF5-8967-C48F01E36B29}" destId="{74BC567D-A420-4605-8CAF-34A3430FBCC5}" srcOrd="1" destOrd="0" presId="urn:microsoft.com/office/officeart/2008/layout/VerticalCircleList"/>
    <dgm:cxn modelId="{18757242-C97B-4E85-9AB3-2FC4E5B45C3B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66" minVer="http://schemas.openxmlformats.org/drawingml/2006/diagram"/>
    </a:ext>
  </dgm:extLst>
</dgm:dataModel>
</file>

<file path=ppt/diagrams/data55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Formazione</a:t>
          </a:r>
          <a:r>
            <a:rPr lang="it-IT" sz="1500" b="1" i="0" baseline="0" dirty="0" smtClean="0">
              <a:latin typeface="Calibri" panose="020F0502020204030204" pitchFamily="34" charset="0"/>
            </a:rPr>
            <a:t> continua e permanente su ICT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889E1CC8-E9EE-43AC-B110-61F5E91CBC59}" type="presOf" srcId="{DF7312F5-2151-4B18-9FE3-27B38D9DAE81}" destId="{1EF007DE-E38E-41BB-9C84-DBA6EE5550E0}" srcOrd="0" destOrd="0" presId="urn:microsoft.com/office/officeart/2008/layout/VerticalCircleList"/>
    <dgm:cxn modelId="{F010C368-63FE-4AC4-8573-9DB553F543FA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C672396B-FA74-4EC5-B1BB-8B72F039E249}" type="presParOf" srcId="{AF161DBD-193F-4E53-9953-839E85CF1C7D}" destId="{41EEB0CA-07A8-4FF5-8967-C48F01E36B29}" srcOrd="0" destOrd="0" presId="urn:microsoft.com/office/officeart/2008/layout/VerticalCircleList"/>
    <dgm:cxn modelId="{5EA2418F-7648-4BAF-8951-209F190B12E8}" type="presParOf" srcId="{41EEB0CA-07A8-4FF5-8967-C48F01E36B29}" destId="{AAA1C512-E96F-4798-9282-083A0E274468}" srcOrd="0" destOrd="0" presId="urn:microsoft.com/office/officeart/2008/layout/VerticalCircleList"/>
    <dgm:cxn modelId="{50422209-BFE1-4B99-81AB-70B89A9FA14C}" type="presParOf" srcId="{41EEB0CA-07A8-4FF5-8967-C48F01E36B29}" destId="{74BC567D-A420-4605-8CAF-34A3430FBCC5}" srcOrd="1" destOrd="0" presId="urn:microsoft.com/office/officeart/2008/layout/VerticalCircleList"/>
    <dgm:cxn modelId="{91E47A80-8768-49CF-BD9F-FA461B7AACED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71" minVer="http://schemas.openxmlformats.org/drawingml/2006/diagram"/>
    </a:ext>
  </dgm:extLst>
</dgm:dataModel>
</file>

<file path=ppt/diagrams/data56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Sostegno a PEI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1CB1D3A0-8109-4B39-9C75-F35BAFCB738C}" type="presOf" srcId="{886FCA53-2B50-4919-9D84-B3341636C061}" destId="{AF161DBD-193F-4E53-9953-839E85CF1C7D}" srcOrd="0" destOrd="0" presId="urn:microsoft.com/office/officeart/2008/layout/VerticalCircleList"/>
    <dgm:cxn modelId="{4407AB84-B79A-4B66-94AB-EDF8B4339A2C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EC7D2CC2-4D4C-4EE8-B268-27D52DCFCA13}" type="presParOf" srcId="{AF161DBD-193F-4E53-9953-839E85CF1C7D}" destId="{41EEB0CA-07A8-4FF5-8967-C48F01E36B29}" srcOrd="0" destOrd="0" presId="urn:microsoft.com/office/officeart/2008/layout/VerticalCircleList"/>
    <dgm:cxn modelId="{12E313EF-815B-42B1-9832-B4F0FC561C95}" type="presParOf" srcId="{41EEB0CA-07A8-4FF5-8967-C48F01E36B29}" destId="{AAA1C512-E96F-4798-9282-083A0E274468}" srcOrd="0" destOrd="0" presId="urn:microsoft.com/office/officeart/2008/layout/VerticalCircleList"/>
    <dgm:cxn modelId="{A66940AA-6965-4F90-924B-5587263C0141}" type="presParOf" srcId="{41EEB0CA-07A8-4FF5-8967-C48F01E36B29}" destId="{74BC567D-A420-4605-8CAF-34A3430FBCC5}" srcOrd="1" destOrd="0" presId="urn:microsoft.com/office/officeart/2008/layout/VerticalCircleList"/>
    <dgm:cxn modelId="{A53C1296-61EE-45C3-BB4E-21E62EFCAEE1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76" minVer="http://schemas.openxmlformats.org/drawingml/2006/diagram"/>
    </a:ext>
  </dgm:extLst>
</dgm:dataModel>
</file>

<file path=ppt/diagrams/data57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Formazione Open </a:t>
          </a:r>
          <a:r>
            <a:rPr lang="it-IT" sz="1500" b="1" i="0" dirty="0" err="1" smtClean="0">
              <a:latin typeface="Calibri" panose="020F0502020204030204" pitchFamily="34" charset="0"/>
            </a:rPr>
            <a:t>Government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EE321099-4193-4217-9643-B3C00C15563E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C84994DC-E271-458E-9DF9-D73DF6BFA24A}" type="presOf" srcId="{DF7312F5-2151-4B18-9FE3-27B38D9DAE81}" destId="{1EF007DE-E38E-41BB-9C84-DBA6EE5550E0}" srcOrd="0" destOrd="0" presId="urn:microsoft.com/office/officeart/2008/layout/VerticalCircleList"/>
    <dgm:cxn modelId="{B6AAE8B5-FF29-4B5B-996F-9B49785D83C8}" type="presParOf" srcId="{AF161DBD-193F-4E53-9953-839E85CF1C7D}" destId="{41EEB0CA-07A8-4FF5-8967-C48F01E36B29}" srcOrd="0" destOrd="0" presId="urn:microsoft.com/office/officeart/2008/layout/VerticalCircleList"/>
    <dgm:cxn modelId="{FAB4178B-A846-49B6-8CC9-CDD014F0CC32}" type="presParOf" srcId="{41EEB0CA-07A8-4FF5-8967-C48F01E36B29}" destId="{AAA1C512-E96F-4798-9282-083A0E274468}" srcOrd="0" destOrd="0" presId="urn:microsoft.com/office/officeart/2008/layout/VerticalCircleList"/>
    <dgm:cxn modelId="{07DE9BAD-569C-4B7D-863C-4D530ED441DE}" type="presParOf" srcId="{41EEB0CA-07A8-4FF5-8967-C48F01E36B29}" destId="{74BC567D-A420-4605-8CAF-34A3430FBCC5}" srcOrd="1" destOrd="0" presId="urn:microsoft.com/office/officeart/2008/layout/VerticalCircleList"/>
    <dgm:cxn modelId="{BDF2C7FA-B6CA-4E68-AE8B-0B6971B23A7C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81" minVer="http://schemas.openxmlformats.org/drawingml/2006/diagram"/>
    </a:ext>
  </dgm:extLst>
</dgm:dataModel>
</file>

<file path=ppt/diagrams/data58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Iniziative pilote di scambio transnazionale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8636A437-9ACA-4763-A49E-3B6DAE9750C1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BF8A2FB0-BD46-4F12-90C8-23D8AEDF67A8}" type="presOf" srcId="{886FCA53-2B50-4919-9D84-B3341636C061}" destId="{AF161DBD-193F-4E53-9953-839E85CF1C7D}" srcOrd="0" destOrd="0" presId="urn:microsoft.com/office/officeart/2008/layout/VerticalCircleList"/>
    <dgm:cxn modelId="{2866B919-256B-4300-984B-2018015E18FE}" type="presParOf" srcId="{AF161DBD-193F-4E53-9953-839E85CF1C7D}" destId="{41EEB0CA-07A8-4FF5-8967-C48F01E36B29}" srcOrd="0" destOrd="0" presId="urn:microsoft.com/office/officeart/2008/layout/VerticalCircleList"/>
    <dgm:cxn modelId="{8ECEBC03-F755-4C8F-B8BA-8BACD824A793}" type="presParOf" srcId="{41EEB0CA-07A8-4FF5-8967-C48F01E36B29}" destId="{AAA1C512-E96F-4798-9282-083A0E274468}" srcOrd="0" destOrd="0" presId="urn:microsoft.com/office/officeart/2008/layout/VerticalCircleList"/>
    <dgm:cxn modelId="{FE5F862A-209D-44D1-B170-2DBB52503F3F}" type="presParOf" srcId="{41EEB0CA-07A8-4FF5-8967-C48F01E36B29}" destId="{74BC567D-A420-4605-8CAF-34A3430FBCC5}" srcOrd="1" destOrd="0" presId="urn:microsoft.com/office/officeart/2008/layout/VerticalCircleList"/>
    <dgm:cxn modelId="{B2D41CBD-2B47-418B-A824-9C3BD64EF08B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86" minVer="http://schemas.openxmlformats.org/drawingml/2006/diagram"/>
    </a:ext>
  </dgm:extLst>
</dgm:dataModel>
</file>

<file path=ppt/diagrams/data59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Delimitazione Perimetro d’Ambito 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Y="75489" custLinFactNeighborX="5909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B11FD03B-C739-48BB-8894-DC0986E2362D}" type="presOf" srcId="{3A5B02CC-7645-4578-B93E-5BB7EC17E14F}" destId="{EA40DB6F-53FC-4451-8412-D98A1010BCCC}" srcOrd="0" destOrd="0" presId="urn:microsoft.com/office/officeart/2005/8/layout/vList2"/>
    <dgm:cxn modelId="{9B8138EC-5A1B-47B2-9316-8D5290100DE3}" type="presOf" srcId="{3471B385-D51D-4B62-9A6B-249C5AC9C98A}" destId="{0931DA6C-1101-4D88-9476-40F778BD96D7}" srcOrd="0" destOrd="0" presId="urn:microsoft.com/office/officeart/2005/8/layout/vList2"/>
    <dgm:cxn modelId="{AB28BD23-C2B3-4CFE-9DC3-930244FFE71D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4400" b="1" dirty="0" smtClean="0"/>
            <a:t>Avvio tavolo</a:t>
          </a:r>
        </a:p>
        <a:p>
          <a:r>
            <a:rPr lang="it-IT" sz="4400" b="1" dirty="0" smtClean="0"/>
            <a:t>8 maggio 2014</a:t>
          </a:r>
          <a:endParaRPr lang="it-IT" sz="4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Avere il quadro chiaro dove inserire il proprio contributo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D446E03B-A085-4EAF-A9D7-21D9E631073A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Definire le modalità per l’elaborazione e/o l’invio del contributo</a:t>
          </a:r>
          <a:endParaRPr lang="it-IT" sz="3600" b="0" dirty="0">
            <a:solidFill>
              <a:schemeClr val="accent1"/>
            </a:solidFill>
          </a:endParaRPr>
        </a:p>
      </dgm:t>
    </dgm:pt>
    <dgm:pt modelId="{44FDFF5D-A5FE-4F6B-89B8-1FCC632B967C}" type="parTrans" cxnId="{BB9A4BB3-9E3F-4768-AB03-3A5823740DAC}">
      <dgm:prSet/>
      <dgm:spPr/>
    </dgm:pt>
    <dgm:pt modelId="{A44EEB28-BFA3-4413-89F9-8106007D5EF7}" type="sibTrans" cxnId="{BB9A4BB3-9E3F-4768-AB03-3A5823740DAC}">
      <dgm:prSet/>
      <dgm:spPr/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D0FC079-3FE2-4E51-A91A-7E2BEA3C689B}" type="presOf" srcId="{FA935D20-D649-4F38-A41B-69E90530D632}" destId="{19C3370D-7B6A-4F3C-8C78-C38DF1D2FA31}" srcOrd="0" destOrd="0" presId="urn:microsoft.com/office/officeart/2005/8/layout/vList5"/>
    <dgm:cxn modelId="{724E4F33-2C28-4AED-9682-0DBD1FE4BB38}" type="presOf" srcId="{F23A2E33-A7A9-4C0C-9E2D-FE9B09B27B0C}" destId="{4B75031E-EAE2-44AE-A204-79AAE3CD8BF2}" srcOrd="0" destOrd="0" presId="urn:microsoft.com/office/officeart/2005/8/layout/vList5"/>
    <dgm:cxn modelId="{D7D86B66-960E-4E9C-897A-9577ED6E0889}" type="presOf" srcId="{D446E03B-A085-4EAF-A9D7-21D9E631073A}" destId="{19C3370D-7B6A-4F3C-8C78-C38DF1D2FA31}" srcOrd="0" destOrd="1" presId="urn:microsoft.com/office/officeart/2005/8/layout/vList5"/>
    <dgm:cxn modelId="{BB9A4BB3-9E3F-4768-AB03-3A5823740DAC}" srcId="{F23A2E33-A7A9-4C0C-9E2D-FE9B09B27B0C}" destId="{D446E03B-A085-4EAF-A9D7-21D9E631073A}" srcOrd="1" destOrd="0" parTransId="{44FDFF5D-A5FE-4F6B-89B8-1FCC632B967C}" sibTransId="{A44EEB28-BFA3-4413-89F9-8106007D5EF7}"/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237AEBFF-8ED9-4C70-97FE-9451E2D65E07}" type="presOf" srcId="{BE3B8733-AE13-4A7B-A32B-B74DE4C528D7}" destId="{67CAF0F0-11C7-41D4-B458-17DD1ACC65D7}" srcOrd="0" destOrd="0" presId="urn:microsoft.com/office/officeart/2005/8/layout/vList5"/>
    <dgm:cxn modelId="{B0BBFA34-D6D0-4F97-99CE-1C54BF8E68AC}" type="presParOf" srcId="{67CAF0F0-11C7-41D4-B458-17DD1ACC65D7}" destId="{91EF4C2B-0965-4D66-A48D-ECB7ACAE5C2D}" srcOrd="0" destOrd="0" presId="urn:microsoft.com/office/officeart/2005/8/layout/vList5"/>
    <dgm:cxn modelId="{6F76331B-B50A-49AF-BA4E-4A43CEBDCFAA}" type="presParOf" srcId="{91EF4C2B-0965-4D66-A48D-ECB7ACAE5C2D}" destId="{4B75031E-EAE2-44AE-A204-79AAE3CD8BF2}" srcOrd="0" destOrd="0" presId="urn:microsoft.com/office/officeart/2005/8/layout/vList5"/>
    <dgm:cxn modelId="{0EE5EA2C-3CC0-4A38-974F-55A1EFFD9578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0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4ACCE4FC-ED29-42A2-BD3C-14422DF99A63}" type="presOf" srcId="{E4C7AF03-E2BD-4E48-8DAB-C1261D3D7EA9}" destId="{21D380AD-5D38-4835-9FB5-615E5454C686}" srcOrd="1" destOrd="0" presId="urn:microsoft.com/office/officeart/2005/8/layout/list1"/>
    <dgm:cxn modelId="{62C0965F-7310-4DF3-8F69-CC235BAC4F5D}" type="presOf" srcId="{E4C7AF03-E2BD-4E48-8DAB-C1261D3D7EA9}" destId="{03DB856F-DE91-4CA0-AD05-B356DE21BFDC}" srcOrd="0" destOrd="0" presId="urn:microsoft.com/office/officeart/2005/8/layout/list1"/>
    <dgm:cxn modelId="{367371AC-FE11-40D4-949C-14594CD5DE7B}" type="presOf" srcId="{188FD03C-7D6A-4D29-8FCB-9C1383057E36}" destId="{C08F212E-D010-4B1B-884C-243E8BB88BD2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75D66475-2F37-4CE6-91CD-D5EE101F63BD}" type="presParOf" srcId="{C08F212E-D010-4B1B-884C-243E8BB88BD2}" destId="{A042C0D5-6636-40E8-83EA-703099528EDB}" srcOrd="0" destOrd="0" presId="urn:microsoft.com/office/officeart/2005/8/layout/list1"/>
    <dgm:cxn modelId="{B8E8AF1B-8E63-4BBD-9DFE-99BD339F4435}" type="presParOf" srcId="{A042C0D5-6636-40E8-83EA-703099528EDB}" destId="{03DB856F-DE91-4CA0-AD05-B356DE21BFDC}" srcOrd="0" destOrd="0" presId="urn:microsoft.com/office/officeart/2005/8/layout/list1"/>
    <dgm:cxn modelId="{9CECA89E-A8C6-47F2-95BC-A2F9FAA75CBC}" type="presParOf" srcId="{A042C0D5-6636-40E8-83EA-703099528EDB}" destId="{21D380AD-5D38-4835-9FB5-615E5454C686}" srcOrd="1" destOrd="0" presId="urn:microsoft.com/office/officeart/2005/8/layout/list1"/>
    <dgm:cxn modelId="{44AD3F51-7870-40A6-B848-FD010FC15440}" type="presParOf" srcId="{C08F212E-D010-4B1B-884C-243E8BB88BD2}" destId="{E77B3B8A-36B6-4AF7-9D59-DF889FA8E07C}" srcOrd="1" destOrd="0" presId="urn:microsoft.com/office/officeart/2005/8/layout/list1"/>
    <dgm:cxn modelId="{C033E28E-C83D-4C0C-8E5C-6ECF50707193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1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a posizione competitiva della Sicilia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AC16944A-4DBA-42F9-B7C5-FD83738D4902}" type="presOf" srcId="{9AF403A6-2C5C-4F1B-B787-47496D3DBC71}" destId="{639FA514-32E4-4E31-8688-3C040A3F30E9}" srcOrd="0" destOrd="0" presId="urn:microsoft.com/office/officeart/2005/8/layout/chevronAccent+Icon"/>
    <dgm:cxn modelId="{01CCA593-9C4C-492B-89BF-4F85E1A84F8D}" type="presOf" srcId="{72D59079-C521-4525-81A4-701D931A8233}" destId="{9CE9EFE3-4E69-404A-8A99-59388A9E3922}" srcOrd="0" destOrd="0" presId="urn:microsoft.com/office/officeart/2005/8/layout/chevronAccent+Icon"/>
    <dgm:cxn modelId="{BE8EE9E5-6BCE-4C1D-AB01-08D2AB7EE12E}" type="presParOf" srcId="{639FA514-32E4-4E31-8688-3C040A3F30E9}" destId="{F100BA9B-D4E3-421F-B5D8-42E4C50A115C}" srcOrd="0" destOrd="0" presId="urn:microsoft.com/office/officeart/2005/8/layout/chevronAccent+Icon"/>
    <dgm:cxn modelId="{B7174A6C-F6E1-43E8-A264-217FD4328967}" type="presParOf" srcId="{F100BA9B-D4E3-421F-B5D8-42E4C50A115C}" destId="{51AD98A5-0898-43D1-8FB1-9AA58104A73C}" srcOrd="0" destOrd="0" presId="urn:microsoft.com/office/officeart/2005/8/layout/chevronAccent+Icon"/>
    <dgm:cxn modelId="{00B52954-472A-4472-BD28-66C92741F3F5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2.xml><?xml version="1.0" encoding="utf-8"?>
<dgm:dataModel xmlns:dgm="http://schemas.openxmlformats.org/drawingml/2006/diagram" xmlns:a="http://schemas.openxmlformats.org/drawingml/2006/main">
  <dgm:ptLst>
    <dgm:pt modelId="{7F3256DC-A91D-4B31-9C5B-2CFEEC1CCED2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it-IT"/>
        </a:p>
      </dgm:t>
    </dgm:pt>
    <dgm:pt modelId="{C8F16073-C276-439A-ACD9-147EC6C284E2}">
      <dgm:prSet custT="1"/>
      <dgm:spPr/>
      <dgm:t>
        <a:bodyPr/>
        <a:lstStyle/>
        <a:p>
          <a:pPr algn="ctr" rtl="0"/>
          <a:r>
            <a:rPr lang="it-IT" sz="1600" b="1" dirty="0" smtClean="0">
              <a:solidFill>
                <a:schemeClr val="bg1"/>
              </a:solidFill>
            </a:rPr>
            <a:t>Scienze della Vita in Sicilia</a:t>
          </a:r>
          <a:endParaRPr lang="it-IT" sz="1600" b="1" dirty="0">
            <a:solidFill>
              <a:schemeClr val="bg1"/>
            </a:solidFill>
          </a:endParaRPr>
        </a:p>
      </dgm:t>
    </dgm:pt>
    <dgm:pt modelId="{808784CB-1010-44F0-A98D-127A4EEF81B4}" type="parTrans" cxnId="{D1335D08-878C-4E55-A228-338786DEC1CF}">
      <dgm:prSet/>
      <dgm:spPr/>
      <dgm:t>
        <a:bodyPr/>
        <a:lstStyle/>
        <a:p>
          <a:endParaRPr lang="it-IT"/>
        </a:p>
      </dgm:t>
    </dgm:pt>
    <dgm:pt modelId="{4E479A68-DA8B-4C5E-AFBB-E3F4273CA5B5}" type="sibTrans" cxnId="{D1335D08-878C-4E55-A228-338786DEC1CF}">
      <dgm:prSet/>
      <dgm:spPr/>
      <dgm:t>
        <a:bodyPr/>
        <a:lstStyle/>
        <a:p>
          <a:endParaRPr lang="it-IT"/>
        </a:p>
      </dgm:t>
    </dgm:pt>
    <dgm:pt modelId="{4B0463A2-876F-4871-AD63-B4B32D953B87}" type="pres">
      <dgm:prSet presAssocID="{7F3256DC-A91D-4B31-9C5B-2CFEEC1CCED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02A1168C-7C8C-4D96-AFDB-12A6AD8CB0AC}" type="pres">
      <dgm:prSet presAssocID="{C8F16073-C276-439A-ACD9-147EC6C284E2}" presName="parentText" presStyleLbl="node1" presStyleIdx="0" presStyleCnt="1" custLinFactNeighborX="1754" custLinFactNeighborY="19632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BB05B9E-B162-46E1-9FBC-0BEBD79D29C1}" type="presOf" srcId="{C8F16073-C276-439A-ACD9-147EC6C284E2}" destId="{02A1168C-7C8C-4D96-AFDB-12A6AD8CB0AC}" srcOrd="0" destOrd="0" presId="urn:microsoft.com/office/officeart/2005/8/layout/vList2"/>
    <dgm:cxn modelId="{D1335D08-878C-4E55-A228-338786DEC1CF}" srcId="{7F3256DC-A91D-4B31-9C5B-2CFEEC1CCED2}" destId="{C8F16073-C276-439A-ACD9-147EC6C284E2}" srcOrd="0" destOrd="0" parTransId="{808784CB-1010-44F0-A98D-127A4EEF81B4}" sibTransId="{4E479A68-DA8B-4C5E-AFBB-E3F4273CA5B5}"/>
    <dgm:cxn modelId="{4E5A804C-C823-4AD2-BDD7-EB42068B79B9}" type="presOf" srcId="{7F3256DC-A91D-4B31-9C5B-2CFEEC1CCED2}" destId="{4B0463A2-876F-4871-AD63-B4B32D953B87}" srcOrd="0" destOrd="0" presId="urn:microsoft.com/office/officeart/2005/8/layout/vList2"/>
    <dgm:cxn modelId="{2323AB10-099E-4B39-BBA9-F740834B7067}" type="presParOf" srcId="{4B0463A2-876F-4871-AD63-B4B32D953B87}" destId="{02A1168C-7C8C-4D96-AFDB-12A6AD8CB0A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63.xml><?xml version="1.0" encoding="utf-8"?>
<dgm:dataModel xmlns:dgm="http://schemas.openxmlformats.org/drawingml/2006/diagram" xmlns:a="http://schemas.openxmlformats.org/drawingml/2006/main">
  <dgm:ptLst>
    <dgm:pt modelId="{3E520BF5-F4CB-411B-A4B9-F754B7D5D8E3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it-IT"/>
        </a:p>
      </dgm:t>
    </dgm:pt>
    <dgm:pt modelId="{E7A25481-1785-4C82-A5CD-192C2C9C0E40}">
      <dgm:prSet/>
      <dgm:spPr/>
      <dgm:t>
        <a:bodyPr/>
        <a:lstStyle/>
        <a:p>
          <a:pPr algn="just"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In Sicilia sono localizzate 7 imprese biotech, e per questo si colloca decima tra le regioni italiane, il cui fatturato è pari a 111 milioni di euro, mentre gli investimenti in R&amp;S ammontano a 35 milioni di euro e gli addetti sono 151</a:t>
          </a:r>
        </a:p>
        <a:p>
          <a:pPr algn="just" rtl="0"/>
          <a:r>
            <a:rPr lang="it-IT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(in base a queste ultime tre categorie la Sicilia si attesta settima tra le regioni italiane)</a:t>
          </a:r>
          <a:endParaRPr lang="it-IT" b="1" dirty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+mj-lt"/>
          </a:endParaRPr>
        </a:p>
      </dgm:t>
    </dgm:pt>
    <dgm:pt modelId="{C11AAF5A-892C-4110-9455-4214DB1935E7}" type="parTrans" cxnId="{C8886EAF-66F9-47E3-88D0-9BF9C86A686D}">
      <dgm:prSet/>
      <dgm:spPr/>
      <dgm:t>
        <a:bodyPr/>
        <a:lstStyle/>
        <a:p>
          <a:endParaRPr lang="it-IT"/>
        </a:p>
      </dgm:t>
    </dgm:pt>
    <dgm:pt modelId="{FBDC718E-2A24-4A89-8778-FF5C167CC4DD}" type="sibTrans" cxnId="{C8886EAF-66F9-47E3-88D0-9BF9C86A686D}">
      <dgm:prSet/>
      <dgm:spPr/>
      <dgm:t>
        <a:bodyPr/>
        <a:lstStyle/>
        <a:p>
          <a:endParaRPr lang="it-IT"/>
        </a:p>
      </dgm:t>
    </dgm:pt>
    <dgm:pt modelId="{5CB41EFE-0BE3-4E7B-ADB7-59005AC57DDE}" type="pres">
      <dgm:prSet presAssocID="{3E520BF5-F4CB-411B-A4B9-F754B7D5D8E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37EA93C-3BCB-40A4-925E-09568D968595}" type="pres">
      <dgm:prSet presAssocID="{E7A25481-1785-4C82-A5CD-192C2C9C0E40}" presName="parentText" presStyleLbl="node1" presStyleIdx="0" presStyleCnt="1" custScaleY="65946" custLinFactY="-5410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2597CECA-EC50-4E89-B055-C7AB1226AC20}" type="presOf" srcId="{3E520BF5-F4CB-411B-A4B9-F754B7D5D8E3}" destId="{5CB41EFE-0BE3-4E7B-ADB7-59005AC57DDE}" srcOrd="0" destOrd="0" presId="urn:microsoft.com/office/officeart/2005/8/layout/vList2"/>
    <dgm:cxn modelId="{1736B879-67EA-4F53-BFF7-EE29C629477F}" type="presOf" srcId="{E7A25481-1785-4C82-A5CD-192C2C9C0E40}" destId="{B37EA93C-3BCB-40A4-925E-09568D968595}" srcOrd="0" destOrd="0" presId="urn:microsoft.com/office/officeart/2005/8/layout/vList2"/>
    <dgm:cxn modelId="{C8886EAF-66F9-47E3-88D0-9BF9C86A686D}" srcId="{3E520BF5-F4CB-411B-A4B9-F754B7D5D8E3}" destId="{E7A25481-1785-4C82-A5CD-192C2C9C0E40}" srcOrd="0" destOrd="0" parTransId="{C11AAF5A-892C-4110-9455-4214DB1935E7}" sibTransId="{FBDC718E-2A24-4A89-8778-FF5C167CC4DD}"/>
    <dgm:cxn modelId="{8611E9CE-5B72-4050-B35D-05A4C1A9719E}" type="presParOf" srcId="{5CB41EFE-0BE3-4E7B-ADB7-59005AC57DDE}" destId="{B37EA93C-3BCB-40A4-925E-09568D96859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64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4979D5A6-3F61-434D-A68E-F35D5C7B9987}" type="presOf" srcId="{E4C7AF03-E2BD-4E48-8DAB-C1261D3D7EA9}" destId="{21D380AD-5D38-4835-9FB5-615E5454C686}" srcOrd="1" destOrd="0" presId="urn:microsoft.com/office/officeart/2005/8/layout/list1"/>
    <dgm:cxn modelId="{F36E61CB-747A-4870-A35A-66420A8A6C0D}" type="presOf" srcId="{188FD03C-7D6A-4D29-8FCB-9C1383057E36}" destId="{C08F212E-D010-4B1B-884C-243E8BB88BD2}" srcOrd="0" destOrd="0" presId="urn:microsoft.com/office/officeart/2005/8/layout/list1"/>
    <dgm:cxn modelId="{B189B603-D0BA-476A-A2DD-748AC31D73C7}" type="presOf" srcId="{E4C7AF03-E2BD-4E48-8DAB-C1261D3D7EA9}" destId="{03DB856F-DE91-4CA0-AD05-B356DE21BFDC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3F5DC425-A71A-4FBC-A6C4-8F4F219D2967}" type="presParOf" srcId="{C08F212E-D010-4B1B-884C-243E8BB88BD2}" destId="{A042C0D5-6636-40E8-83EA-703099528EDB}" srcOrd="0" destOrd="0" presId="urn:microsoft.com/office/officeart/2005/8/layout/list1"/>
    <dgm:cxn modelId="{BA30BCD9-75D8-4D4F-BA2C-245CCC74C6BC}" type="presParOf" srcId="{A042C0D5-6636-40E8-83EA-703099528EDB}" destId="{03DB856F-DE91-4CA0-AD05-B356DE21BFDC}" srcOrd="0" destOrd="0" presId="urn:microsoft.com/office/officeart/2005/8/layout/list1"/>
    <dgm:cxn modelId="{B57CBFE0-E3EF-4C22-A48B-6E1B479D2919}" type="presParOf" srcId="{A042C0D5-6636-40E8-83EA-703099528EDB}" destId="{21D380AD-5D38-4835-9FB5-615E5454C686}" srcOrd="1" destOrd="0" presId="urn:microsoft.com/office/officeart/2005/8/layout/list1"/>
    <dgm:cxn modelId="{702C335F-4DA9-4118-B5A6-BB7B99595149}" type="presParOf" srcId="{C08F212E-D010-4B1B-884C-243E8BB88BD2}" destId="{E77B3B8A-36B6-4AF7-9D59-DF889FA8E07C}" srcOrd="1" destOrd="0" presId="urn:microsoft.com/office/officeart/2005/8/layout/list1"/>
    <dgm:cxn modelId="{0FAE5038-4E92-4B4F-BAEC-7B6129FED179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5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a posizione competitiva della Sicilia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21205CE6-CB00-42A9-B22D-C2933219B0ED}" type="presOf" srcId="{72D59079-C521-4525-81A4-701D931A8233}" destId="{9CE9EFE3-4E69-404A-8A99-59388A9E3922}" srcOrd="0" destOrd="0" presId="urn:microsoft.com/office/officeart/2005/8/layout/chevronAccent+Icon"/>
    <dgm:cxn modelId="{5A7463CD-6497-4B28-A0E6-D402F60B35B8}" type="presOf" srcId="{9AF403A6-2C5C-4F1B-B787-47496D3DBC71}" destId="{639FA514-32E4-4E31-8688-3C040A3F30E9}" srcOrd="0" destOrd="0" presId="urn:microsoft.com/office/officeart/2005/8/layout/chevronAccent+Icon"/>
    <dgm:cxn modelId="{986B3240-FABB-4635-8037-78E5CED4B22A}" type="presParOf" srcId="{639FA514-32E4-4E31-8688-3C040A3F30E9}" destId="{F100BA9B-D4E3-421F-B5D8-42E4C50A115C}" srcOrd="0" destOrd="0" presId="urn:microsoft.com/office/officeart/2005/8/layout/chevronAccent+Icon"/>
    <dgm:cxn modelId="{F0FF4972-DB15-45FC-9F64-2857BDCCC089}" type="presParOf" srcId="{F100BA9B-D4E3-421F-B5D8-42E4C50A115C}" destId="{51AD98A5-0898-43D1-8FB1-9AA58104A73C}" srcOrd="0" destOrd="0" presId="urn:microsoft.com/office/officeart/2005/8/layout/chevronAccent+Icon"/>
    <dgm:cxn modelId="{960E63B0-0410-4380-9102-0BEC0F006F59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6.xml><?xml version="1.0" encoding="utf-8"?>
<dgm:dataModel xmlns:dgm="http://schemas.openxmlformats.org/drawingml/2006/diagram" xmlns:a="http://schemas.openxmlformats.org/drawingml/2006/main">
  <dgm:ptLst>
    <dgm:pt modelId="{7F3256DC-A91D-4B31-9C5B-2CFEEC1CCED2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it-IT"/>
        </a:p>
      </dgm:t>
    </dgm:pt>
    <dgm:pt modelId="{C8F16073-C276-439A-ACD9-147EC6C284E2}">
      <dgm:prSet custT="1"/>
      <dgm:spPr/>
      <dgm:t>
        <a:bodyPr/>
        <a:lstStyle/>
        <a:p>
          <a:pPr algn="just" rtl="0"/>
          <a:r>
            <a:rPr lang="it-IT" sz="1400" b="1" dirty="0" smtClean="0"/>
            <a:t>La filiera biomedicale siciliana ha tutte le potenzialità per divenire un polo all'avanguardia nella ricerca e nell'innovazione, capace di attrarre investimenti e di essere competitivo a livello internazionale:</a:t>
          </a:r>
          <a:endParaRPr lang="it-IT" sz="1400" b="1" dirty="0"/>
        </a:p>
      </dgm:t>
    </dgm:pt>
    <dgm:pt modelId="{808784CB-1010-44F0-A98D-127A4EEF81B4}" type="parTrans" cxnId="{D1335D08-878C-4E55-A228-338786DEC1CF}">
      <dgm:prSet/>
      <dgm:spPr/>
      <dgm:t>
        <a:bodyPr/>
        <a:lstStyle/>
        <a:p>
          <a:endParaRPr lang="it-IT"/>
        </a:p>
      </dgm:t>
    </dgm:pt>
    <dgm:pt modelId="{4E479A68-DA8B-4C5E-AFBB-E3F4273CA5B5}" type="sibTrans" cxnId="{D1335D08-878C-4E55-A228-338786DEC1CF}">
      <dgm:prSet/>
      <dgm:spPr/>
      <dgm:t>
        <a:bodyPr/>
        <a:lstStyle/>
        <a:p>
          <a:endParaRPr lang="it-IT"/>
        </a:p>
      </dgm:t>
    </dgm:pt>
    <dgm:pt modelId="{4B0463A2-876F-4871-AD63-B4B32D953B87}" type="pres">
      <dgm:prSet presAssocID="{7F3256DC-A91D-4B31-9C5B-2CFEEC1CCED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02A1168C-7C8C-4D96-AFDB-12A6AD8CB0AC}" type="pres">
      <dgm:prSet presAssocID="{C8F16073-C276-439A-ACD9-147EC6C284E2}" presName="parentText" presStyleLbl="node1" presStyleIdx="0" presStyleCnt="1" custScaleY="398624" custLinFactNeighborY="4316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782FB6E-F8E0-4ED5-82F4-4D2353701ECE}" type="presOf" srcId="{7F3256DC-A91D-4B31-9C5B-2CFEEC1CCED2}" destId="{4B0463A2-876F-4871-AD63-B4B32D953B87}" srcOrd="0" destOrd="0" presId="urn:microsoft.com/office/officeart/2005/8/layout/vList2"/>
    <dgm:cxn modelId="{D1335D08-878C-4E55-A228-338786DEC1CF}" srcId="{7F3256DC-A91D-4B31-9C5B-2CFEEC1CCED2}" destId="{C8F16073-C276-439A-ACD9-147EC6C284E2}" srcOrd="0" destOrd="0" parTransId="{808784CB-1010-44F0-A98D-127A4EEF81B4}" sibTransId="{4E479A68-DA8B-4C5E-AFBB-E3F4273CA5B5}"/>
    <dgm:cxn modelId="{DC7CFE29-D82B-411E-A3EF-8CB1E0D245F9}" type="presOf" srcId="{C8F16073-C276-439A-ACD9-147EC6C284E2}" destId="{02A1168C-7C8C-4D96-AFDB-12A6AD8CB0AC}" srcOrd="0" destOrd="0" presId="urn:microsoft.com/office/officeart/2005/8/layout/vList2"/>
    <dgm:cxn modelId="{A8FE775A-EF5F-4001-AA8A-CCC943233043}" type="presParOf" srcId="{4B0463A2-876F-4871-AD63-B4B32D953B87}" destId="{02A1168C-7C8C-4D96-AFDB-12A6AD8CB0A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67.xml><?xml version="1.0" encoding="utf-8"?>
<dgm:dataModel xmlns:dgm="http://schemas.openxmlformats.org/drawingml/2006/diagram" xmlns:a="http://schemas.openxmlformats.org/drawingml/2006/main">
  <dgm:ptLst>
    <dgm:pt modelId="{CD55CD7A-88F7-450D-9727-49946D872D46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E4E6A14-A934-41E9-9140-D6B7068ECDF1}">
      <dgm:prSet custT="1"/>
      <dgm:spPr/>
      <dgm:t>
        <a:bodyPr/>
        <a:lstStyle/>
        <a:p>
          <a:pPr algn="just" rtl="0"/>
          <a:r>
            <a:rPr lang="it-IT" sz="1400" b="1" dirty="0" smtClean="0"/>
            <a:t>Consistenti risorse finanziarie dedicate dalle imprese farmaceutiche a progetti di ricerca e sviluppo. L'impegno è premiato dai risultati: le “poche ma buone” imprese farmaceutiche siciliane contribuiscono in maniera apprezzabile al valore aggiunto dell'industria manifatturiera regionale (circa il 5%, tenendo conto dell'indotto più dell'8%).</a:t>
          </a:r>
          <a:endParaRPr lang="it-IT" sz="1400" b="1" dirty="0"/>
        </a:p>
      </dgm:t>
    </dgm:pt>
    <dgm:pt modelId="{3831561D-3965-480C-9B42-024CBA46BA3C}" type="parTrans" cxnId="{389BB9B4-2606-43F6-8030-8D417D857B1B}">
      <dgm:prSet/>
      <dgm:spPr/>
      <dgm:t>
        <a:bodyPr/>
        <a:lstStyle/>
        <a:p>
          <a:endParaRPr lang="it-IT"/>
        </a:p>
      </dgm:t>
    </dgm:pt>
    <dgm:pt modelId="{6633858A-B0A6-4C04-9578-6367E60B234E}" type="sibTrans" cxnId="{389BB9B4-2606-43F6-8030-8D417D857B1B}">
      <dgm:prSet/>
      <dgm:spPr/>
      <dgm:t>
        <a:bodyPr/>
        <a:lstStyle/>
        <a:p>
          <a:endParaRPr lang="it-IT"/>
        </a:p>
      </dgm:t>
    </dgm:pt>
    <dgm:pt modelId="{583250F9-F749-44D2-BB52-14A40BD9E970}">
      <dgm:prSet custT="1"/>
      <dgm:spPr/>
      <dgm:t>
        <a:bodyPr/>
        <a:lstStyle/>
        <a:p>
          <a:pPr algn="just" rtl="0"/>
          <a:r>
            <a:rPr lang="it-IT" sz="1400" b="1" dirty="0" smtClean="0"/>
            <a:t>Esistenza di ampio capitale umano concentrato nel settore microbiologico, biochimico, biologico molecolare e immunologico afferente all'università, agli enti pubblici di ricerca, compreso agli istituti di ricovero e cura a carattere scientifico e ad alcuni istituti privati e alle industrie, particolarmente del settore farmaceutico</a:t>
          </a:r>
          <a:endParaRPr lang="it-IT" sz="1400" b="1" dirty="0"/>
        </a:p>
      </dgm:t>
    </dgm:pt>
    <dgm:pt modelId="{056FD680-CA8F-4F86-98AD-24D57AF7686E}" type="parTrans" cxnId="{A945BE6E-5782-4588-85B0-A245CC096DD7}">
      <dgm:prSet/>
      <dgm:spPr/>
      <dgm:t>
        <a:bodyPr/>
        <a:lstStyle/>
        <a:p>
          <a:endParaRPr lang="it-IT"/>
        </a:p>
      </dgm:t>
    </dgm:pt>
    <dgm:pt modelId="{89CB1E83-7DCA-4379-9A21-A78D7D8C85F0}" type="sibTrans" cxnId="{A945BE6E-5782-4588-85B0-A245CC096DD7}">
      <dgm:prSet/>
      <dgm:spPr/>
      <dgm:t>
        <a:bodyPr/>
        <a:lstStyle/>
        <a:p>
          <a:endParaRPr lang="it-IT"/>
        </a:p>
      </dgm:t>
    </dgm:pt>
    <dgm:pt modelId="{3724249F-DFBC-4D78-BEFF-0D5264FCC0A5}">
      <dgm:prSet custT="1"/>
      <dgm:spPr/>
      <dgm:t>
        <a:bodyPr/>
        <a:lstStyle/>
        <a:p>
          <a:pPr algn="just" rtl="0"/>
          <a:r>
            <a:rPr lang="it-IT" sz="1400" b="1" dirty="0" smtClean="0"/>
            <a:t>Ricerca in campo biomedicale supportata da varie istituzioni scientifiche tra cui Università, ospedali, società di ricerca e sviluppo, strutture del CNR, e si avvale frequentemente di collaborazioni con le imprese dell'alta tecnologia dell'Etna Valley.</a:t>
          </a:r>
          <a:endParaRPr lang="it-IT" sz="1400" b="1" dirty="0"/>
        </a:p>
      </dgm:t>
    </dgm:pt>
    <dgm:pt modelId="{5198DEE7-FAAF-4BA6-851A-AC7254FB3633}" type="parTrans" cxnId="{E568A113-A044-4335-B6E9-AA964E93A584}">
      <dgm:prSet/>
      <dgm:spPr/>
      <dgm:t>
        <a:bodyPr/>
        <a:lstStyle/>
        <a:p>
          <a:endParaRPr lang="it-IT"/>
        </a:p>
      </dgm:t>
    </dgm:pt>
    <dgm:pt modelId="{929C0818-BD10-4319-B757-740ED27465A1}" type="sibTrans" cxnId="{E568A113-A044-4335-B6E9-AA964E93A584}">
      <dgm:prSet/>
      <dgm:spPr/>
      <dgm:t>
        <a:bodyPr/>
        <a:lstStyle/>
        <a:p>
          <a:endParaRPr lang="it-IT"/>
        </a:p>
      </dgm:t>
    </dgm:pt>
    <dgm:pt modelId="{EE3732EE-622D-4F96-BF2D-C40E6F23F99E}" type="pres">
      <dgm:prSet presAssocID="{CD55CD7A-88F7-450D-9727-49946D872D46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73BAF46F-D926-4E33-966F-A9E6654A4CAF}" type="pres">
      <dgm:prSet presAssocID="{CE4E6A14-A934-41E9-9140-D6B7068ECDF1}" presName="noChildren" presStyleCnt="0"/>
      <dgm:spPr/>
    </dgm:pt>
    <dgm:pt modelId="{A429BBD3-DCF1-4D25-9B63-15A6C13CF7AF}" type="pres">
      <dgm:prSet presAssocID="{CE4E6A14-A934-41E9-9140-D6B7068ECDF1}" presName="gap" presStyleCnt="0"/>
      <dgm:spPr/>
    </dgm:pt>
    <dgm:pt modelId="{7E6D4DDD-2655-4A15-A6CD-C8C4497FBCA9}" type="pres">
      <dgm:prSet presAssocID="{CE4E6A14-A934-41E9-9140-D6B7068ECDF1}" presName="medCircle2" presStyleLbl="vennNode1" presStyleIdx="0" presStyleCnt="3"/>
      <dgm:spPr/>
    </dgm:pt>
    <dgm:pt modelId="{6E7EEBBD-886B-46D0-98EF-5E25278344ED}" type="pres">
      <dgm:prSet presAssocID="{CE4E6A14-A934-41E9-9140-D6B7068ECDF1}" presName="txLvlOnly1" presStyleLbl="revTx" presStyleIdx="0" presStyleCnt="3"/>
      <dgm:spPr/>
      <dgm:t>
        <a:bodyPr/>
        <a:lstStyle/>
        <a:p>
          <a:endParaRPr lang="it-IT"/>
        </a:p>
      </dgm:t>
    </dgm:pt>
    <dgm:pt modelId="{261FEF75-F8CD-4D28-9A7A-95D07E8645ED}" type="pres">
      <dgm:prSet presAssocID="{583250F9-F749-44D2-BB52-14A40BD9E970}" presName="noChildren" presStyleCnt="0"/>
      <dgm:spPr/>
    </dgm:pt>
    <dgm:pt modelId="{9AA1F845-025E-477F-A2B3-A55BAE3C0DF6}" type="pres">
      <dgm:prSet presAssocID="{583250F9-F749-44D2-BB52-14A40BD9E970}" presName="gap" presStyleCnt="0"/>
      <dgm:spPr/>
    </dgm:pt>
    <dgm:pt modelId="{AD423144-F2DC-4FD3-A02A-B033C56C5B34}" type="pres">
      <dgm:prSet presAssocID="{583250F9-F749-44D2-BB52-14A40BD9E970}" presName="medCircle2" presStyleLbl="vennNode1" presStyleIdx="1" presStyleCnt="3"/>
      <dgm:spPr/>
    </dgm:pt>
    <dgm:pt modelId="{8EC76156-026F-496E-BEEA-539F9680CDFF}" type="pres">
      <dgm:prSet presAssocID="{583250F9-F749-44D2-BB52-14A40BD9E970}" presName="txLvlOnly1" presStyleLbl="revTx" presStyleIdx="1" presStyleCnt="3"/>
      <dgm:spPr/>
      <dgm:t>
        <a:bodyPr/>
        <a:lstStyle/>
        <a:p>
          <a:endParaRPr lang="it-IT"/>
        </a:p>
      </dgm:t>
    </dgm:pt>
    <dgm:pt modelId="{1A99EE2F-37BC-40EA-AC47-7279C920E915}" type="pres">
      <dgm:prSet presAssocID="{3724249F-DFBC-4D78-BEFF-0D5264FCC0A5}" presName="noChildren" presStyleCnt="0"/>
      <dgm:spPr/>
    </dgm:pt>
    <dgm:pt modelId="{72F00821-6275-4FF4-956C-BBA5612DE7B9}" type="pres">
      <dgm:prSet presAssocID="{3724249F-DFBC-4D78-BEFF-0D5264FCC0A5}" presName="gap" presStyleCnt="0"/>
      <dgm:spPr/>
    </dgm:pt>
    <dgm:pt modelId="{093122C7-E9C3-4C21-BD3C-F5CE571988EB}" type="pres">
      <dgm:prSet presAssocID="{3724249F-DFBC-4D78-BEFF-0D5264FCC0A5}" presName="medCircle2" presStyleLbl="vennNode1" presStyleIdx="2" presStyleCnt="3"/>
      <dgm:spPr/>
    </dgm:pt>
    <dgm:pt modelId="{9DDBDF28-BA4F-46A6-82E0-6F30DFA3A9AB}" type="pres">
      <dgm:prSet presAssocID="{3724249F-DFBC-4D78-BEFF-0D5264FCC0A5}" presName="txLvlOnly1" presStyleLbl="revTx" presStyleIdx="2" presStyleCnt="3"/>
      <dgm:spPr/>
      <dgm:t>
        <a:bodyPr/>
        <a:lstStyle/>
        <a:p>
          <a:endParaRPr lang="it-IT"/>
        </a:p>
      </dgm:t>
    </dgm:pt>
  </dgm:ptLst>
  <dgm:cxnLst>
    <dgm:cxn modelId="{E568A113-A044-4335-B6E9-AA964E93A584}" srcId="{CD55CD7A-88F7-450D-9727-49946D872D46}" destId="{3724249F-DFBC-4D78-BEFF-0D5264FCC0A5}" srcOrd="2" destOrd="0" parTransId="{5198DEE7-FAAF-4BA6-851A-AC7254FB3633}" sibTransId="{929C0818-BD10-4319-B757-740ED27465A1}"/>
    <dgm:cxn modelId="{3B143776-5FBD-46BB-A30B-38B5C4229E8C}" type="presOf" srcId="{3724249F-DFBC-4D78-BEFF-0D5264FCC0A5}" destId="{9DDBDF28-BA4F-46A6-82E0-6F30DFA3A9AB}" srcOrd="0" destOrd="0" presId="urn:microsoft.com/office/officeart/2008/layout/VerticalCircleList"/>
    <dgm:cxn modelId="{37D2B055-BA07-49E4-87FD-B61C8BE39CE8}" type="presOf" srcId="{CE4E6A14-A934-41E9-9140-D6B7068ECDF1}" destId="{6E7EEBBD-886B-46D0-98EF-5E25278344ED}" srcOrd="0" destOrd="0" presId="urn:microsoft.com/office/officeart/2008/layout/VerticalCircleList"/>
    <dgm:cxn modelId="{389BB9B4-2606-43F6-8030-8D417D857B1B}" srcId="{CD55CD7A-88F7-450D-9727-49946D872D46}" destId="{CE4E6A14-A934-41E9-9140-D6B7068ECDF1}" srcOrd="0" destOrd="0" parTransId="{3831561D-3965-480C-9B42-024CBA46BA3C}" sibTransId="{6633858A-B0A6-4C04-9578-6367E60B234E}"/>
    <dgm:cxn modelId="{A945BE6E-5782-4588-85B0-A245CC096DD7}" srcId="{CD55CD7A-88F7-450D-9727-49946D872D46}" destId="{583250F9-F749-44D2-BB52-14A40BD9E970}" srcOrd="1" destOrd="0" parTransId="{056FD680-CA8F-4F86-98AD-24D57AF7686E}" sibTransId="{89CB1E83-7DCA-4379-9A21-A78D7D8C85F0}"/>
    <dgm:cxn modelId="{3A8A55CC-DDD0-4E44-A8DC-87F3F2A9D112}" type="presOf" srcId="{583250F9-F749-44D2-BB52-14A40BD9E970}" destId="{8EC76156-026F-496E-BEEA-539F9680CDFF}" srcOrd="0" destOrd="0" presId="urn:microsoft.com/office/officeart/2008/layout/VerticalCircleList"/>
    <dgm:cxn modelId="{7807F27D-8ACC-479B-B3ED-AF0B3DFE8626}" type="presOf" srcId="{CD55CD7A-88F7-450D-9727-49946D872D46}" destId="{EE3732EE-622D-4F96-BF2D-C40E6F23F99E}" srcOrd="0" destOrd="0" presId="urn:microsoft.com/office/officeart/2008/layout/VerticalCircleList"/>
    <dgm:cxn modelId="{F37733BB-7617-46E4-BC80-FF088B748844}" type="presParOf" srcId="{EE3732EE-622D-4F96-BF2D-C40E6F23F99E}" destId="{73BAF46F-D926-4E33-966F-A9E6654A4CAF}" srcOrd="0" destOrd="0" presId="urn:microsoft.com/office/officeart/2008/layout/VerticalCircleList"/>
    <dgm:cxn modelId="{54B10D43-E3E1-4003-80DF-BC0682F34AAF}" type="presParOf" srcId="{73BAF46F-D926-4E33-966F-A9E6654A4CAF}" destId="{A429BBD3-DCF1-4D25-9B63-15A6C13CF7AF}" srcOrd="0" destOrd="0" presId="urn:microsoft.com/office/officeart/2008/layout/VerticalCircleList"/>
    <dgm:cxn modelId="{79B9D20D-8A14-4A88-A2CB-0983DB885A1B}" type="presParOf" srcId="{73BAF46F-D926-4E33-966F-A9E6654A4CAF}" destId="{7E6D4DDD-2655-4A15-A6CD-C8C4497FBCA9}" srcOrd="1" destOrd="0" presId="urn:microsoft.com/office/officeart/2008/layout/VerticalCircleList"/>
    <dgm:cxn modelId="{970FF871-50AE-432B-AD43-977881C9ADCA}" type="presParOf" srcId="{73BAF46F-D926-4E33-966F-A9E6654A4CAF}" destId="{6E7EEBBD-886B-46D0-98EF-5E25278344ED}" srcOrd="2" destOrd="0" presId="urn:microsoft.com/office/officeart/2008/layout/VerticalCircleList"/>
    <dgm:cxn modelId="{316308DC-85C0-4DF8-BE0D-F0E3E39659C6}" type="presParOf" srcId="{EE3732EE-622D-4F96-BF2D-C40E6F23F99E}" destId="{261FEF75-F8CD-4D28-9A7A-95D07E8645ED}" srcOrd="1" destOrd="0" presId="urn:microsoft.com/office/officeart/2008/layout/VerticalCircleList"/>
    <dgm:cxn modelId="{2E4C35E5-D269-4FC2-BA8F-310495381D19}" type="presParOf" srcId="{261FEF75-F8CD-4D28-9A7A-95D07E8645ED}" destId="{9AA1F845-025E-477F-A2B3-A55BAE3C0DF6}" srcOrd="0" destOrd="0" presId="urn:microsoft.com/office/officeart/2008/layout/VerticalCircleList"/>
    <dgm:cxn modelId="{BB5B25B1-3BC6-4957-A96B-DB8F63F785BD}" type="presParOf" srcId="{261FEF75-F8CD-4D28-9A7A-95D07E8645ED}" destId="{AD423144-F2DC-4FD3-A02A-B033C56C5B34}" srcOrd="1" destOrd="0" presId="urn:microsoft.com/office/officeart/2008/layout/VerticalCircleList"/>
    <dgm:cxn modelId="{369FF583-E497-47DB-83C7-0513E32E987F}" type="presParOf" srcId="{261FEF75-F8CD-4D28-9A7A-95D07E8645ED}" destId="{8EC76156-026F-496E-BEEA-539F9680CDFF}" srcOrd="2" destOrd="0" presId="urn:microsoft.com/office/officeart/2008/layout/VerticalCircleList"/>
    <dgm:cxn modelId="{73080C32-25C3-479F-A278-D3DF24D1B604}" type="presParOf" srcId="{EE3732EE-622D-4F96-BF2D-C40E6F23F99E}" destId="{1A99EE2F-37BC-40EA-AC47-7279C920E915}" srcOrd="2" destOrd="0" presId="urn:microsoft.com/office/officeart/2008/layout/VerticalCircleList"/>
    <dgm:cxn modelId="{A9DC7F58-C606-45AA-8AED-98E3B2858C77}" type="presParOf" srcId="{1A99EE2F-37BC-40EA-AC47-7279C920E915}" destId="{72F00821-6275-4FF4-956C-BBA5612DE7B9}" srcOrd="0" destOrd="0" presId="urn:microsoft.com/office/officeart/2008/layout/VerticalCircleList"/>
    <dgm:cxn modelId="{D08F7541-49CB-4314-93AD-6CAE1386A925}" type="presParOf" srcId="{1A99EE2F-37BC-40EA-AC47-7279C920E915}" destId="{093122C7-E9C3-4C21-BD3C-F5CE571988EB}" srcOrd="1" destOrd="0" presId="urn:microsoft.com/office/officeart/2008/layout/VerticalCircleList"/>
    <dgm:cxn modelId="{57315E9B-03A5-4C08-99A7-E72F03D9453B}" type="presParOf" srcId="{1A99EE2F-37BC-40EA-AC47-7279C920E915}" destId="{9DDBDF28-BA4F-46A6-82E0-6F30DFA3A9AB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68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B62FCF88-6D0D-4F0F-939C-8D538EB1AA00}" type="presOf" srcId="{E4C7AF03-E2BD-4E48-8DAB-C1261D3D7EA9}" destId="{21D380AD-5D38-4835-9FB5-615E5454C686}" srcOrd="1" destOrd="0" presId="urn:microsoft.com/office/officeart/2005/8/layout/list1"/>
    <dgm:cxn modelId="{9F84F2EC-0BE2-4172-8ED4-90AE26E5CC24}" type="presOf" srcId="{E4C7AF03-E2BD-4E48-8DAB-C1261D3D7EA9}" destId="{03DB856F-DE91-4CA0-AD05-B356DE21BFDC}" srcOrd="0" destOrd="0" presId="urn:microsoft.com/office/officeart/2005/8/layout/list1"/>
    <dgm:cxn modelId="{367F854A-7CFA-4626-8DA1-77BC9AABAB68}" type="presOf" srcId="{188FD03C-7D6A-4D29-8FCB-9C1383057E36}" destId="{C08F212E-D010-4B1B-884C-243E8BB88BD2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8D476B0D-645D-401F-AE1D-33A0BD820411}" type="presParOf" srcId="{C08F212E-D010-4B1B-884C-243E8BB88BD2}" destId="{A042C0D5-6636-40E8-83EA-703099528EDB}" srcOrd="0" destOrd="0" presId="urn:microsoft.com/office/officeart/2005/8/layout/list1"/>
    <dgm:cxn modelId="{5AFC8BE4-4F27-45AD-AB84-B16551EA57A7}" type="presParOf" srcId="{A042C0D5-6636-40E8-83EA-703099528EDB}" destId="{03DB856F-DE91-4CA0-AD05-B356DE21BFDC}" srcOrd="0" destOrd="0" presId="urn:microsoft.com/office/officeart/2005/8/layout/list1"/>
    <dgm:cxn modelId="{FC163D01-B03B-46AC-8D32-4546D181DBF1}" type="presParOf" srcId="{A042C0D5-6636-40E8-83EA-703099528EDB}" destId="{21D380AD-5D38-4835-9FB5-615E5454C686}" srcOrd="1" destOrd="0" presId="urn:microsoft.com/office/officeart/2005/8/layout/list1"/>
    <dgm:cxn modelId="{A896A95B-9B60-4153-8AAB-9F290B931F84}" type="presParOf" srcId="{C08F212E-D010-4B1B-884C-243E8BB88BD2}" destId="{E77B3B8A-36B6-4AF7-9D59-DF889FA8E07C}" srcOrd="1" destOrd="0" presId="urn:microsoft.com/office/officeart/2005/8/layout/list1"/>
    <dgm:cxn modelId="{1DC843DC-F3AB-43E9-B660-979994AF9E78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9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a posizione competitiva della Sicilia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3C561F2B-2F82-416B-B97E-0BA17D9C0355}" type="presOf" srcId="{9AF403A6-2C5C-4F1B-B787-47496D3DBC71}" destId="{639FA514-32E4-4E31-8688-3C040A3F30E9}" srcOrd="0" destOrd="0" presId="urn:microsoft.com/office/officeart/2005/8/layout/chevronAccent+Icon"/>
    <dgm:cxn modelId="{BE7F3760-AFE9-4D54-BE19-58C61206C8E3}" type="presOf" srcId="{72D59079-C521-4525-81A4-701D931A8233}" destId="{9CE9EFE3-4E69-404A-8A99-59388A9E3922}" srcOrd="0" destOrd="0" presId="urn:microsoft.com/office/officeart/2005/8/layout/chevronAccent+Icon"/>
    <dgm:cxn modelId="{AC225273-1252-485C-A17A-B565F5C43338}" type="presParOf" srcId="{639FA514-32E4-4E31-8688-3C040A3F30E9}" destId="{F100BA9B-D4E3-421F-B5D8-42E4C50A115C}" srcOrd="0" destOrd="0" presId="urn:microsoft.com/office/officeart/2005/8/layout/chevronAccent+Icon"/>
    <dgm:cxn modelId="{1863745C-11DC-40F2-A7B4-5C43A9EB5659}" type="presParOf" srcId="{F100BA9B-D4E3-421F-B5D8-42E4C50A115C}" destId="{51AD98A5-0898-43D1-8FB1-9AA58104A73C}" srcOrd="0" destOrd="0" presId="urn:microsoft.com/office/officeart/2005/8/layout/chevronAccent+Icon"/>
    <dgm:cxn modelId="{3B852237-1F7B-4A7E-BA64-49EB5E3861D3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2400" b="1" dirty="0" smtClean="0"/>
            <a:t>TAVOLI TEMATICI</a:t>
          </a:r>
          <a:endParaRPr lang="it-IT" sz="2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 sz="2400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 sz="2400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ScaleX="277778" custLinFactNeighborX="136" custLinFactNeighborY="50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88EBD0AD-4307-4062-9FEA-9D670D414F9F}" type="presOf" srcId="{F23A2E33-A7A9-4C0C-9E2D-FE9B09B27B0C}" destId="{4B75031E-EAE2-44AE-A204-79AAE3CD8BF2}" srcOrd="0" destOrd="0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56E46870-6EEE-422A-B243-D72CCB8270FB}" type="presOf" srcId="{BE3B8733-AE13-4A7B-A32B-B74DE4C528D7}" destId="{67CAF0F0-11C7-41D4-B458-17DD1ACC65D7}" srcOrd="0" destOrd="0" presId="urn:microsoft.com/office/officeart/2005/8/layout/vList5"/>
    <dgm:cxn modelId="{20406A51-8F0A-4459-8634-36AAF9C9C250}" type="presParOf" srcId="{67CAF0F0-11C7-41D4-B458-17DD1ACC65D7}" destId="{91EF4C2B-0965-4D66-A48D-ECB7ACAE5C2D}" srcOrd="0" destOrd="0" presId="urn:microsoft.com/office/officeart/2005/8/layout/vList5"/>
    <dgm:cxn modelId="{AADCF71F-1080-477C-A3D5-ECD2BBAD591A}" type="presParOf" srcId="{91EF4C2B-0965-4D66-A48D-ECB7ACAE5C2D}" destId="{4B75031E-EAE2-44AE-A204-79AAE3CD8BF2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0.xml><?xml version="1.0" encoding="utf-8"?>
<dgm:dataModel xmlns:dgm="http://schemas.openxmlformats.org/drawingml/2006/diagram" xmlns:a="http://schemas.openxmlformats.org/drawingml/2006/main">
  <dgm:ptLst>
    <dgm:pt modelId="{7F3256DC-A91D-4B31-9C5B-2CFEEC1CCED2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it-IT"/>
        </a:p>
      </dgm:t>
    </dgm:pt>
    <dgm:pt modelId="{C8F16073-C276-439A-ACD9-147EC6C284E2}">
      <dgm:prSet custT="1"/>
      <dgm:spPr/>
      <dgm:t>
        <a:bodyPr/>
        <a:lstStyle/>
        <a:p>
          <a:pPr algn="just" rtl="0"/>
          <a:r>
            <a:rPr lang="it-IT" sz="1600" b="1" dirty="0" smtClean="0"/>
            <a:t>Il settore è in Sicilia ancora troppo poco sviluppato per competere con successo a livello internazionale. In particolare, le imprese legate alla produzione di apparecchi medicali, chirurgici, ed ortopedici non hanno le dimensioni adatte a lavorare in un campo così innovativo, che richiede importanti e costanti investimenti in ricerca e sviluppo</a:t>
          </a:r>
          <a:endParaRPr lang="it-IT" sz="1600" b="1" dirty="0"/>
        </a:p>
      </dgm:t>
    </dgm:pt>
    <dgm:pt modelId="{808784CB-1010-44F0-A98D-127A4EEF81B4}" type="parTrans" cxnId="{D1335D08-878C-4E55-A228-338786DEC1CF}">
      <dgm:prSet/>
      <dgm:spPr/>
      <dgm:t>
        <a:bodyPr/>
        <a:lstStyle/>
        <a:p>
          <a:endParaRPr lang="it-IT"/>
        </a:p>
      </dgm:t>
    </dgm:pt>
    <dgm:pt modelId="{4E479A68-DA8B-4C5E-AFBB-E3F4273CA5B5}" type="sibTrans" cxnId="{D1335D08-878C-4E55-A228-338786DEC1CF}">
      <dgm:prSet/>
      <dgm:spPr/>
      <dgm:t>
        <a:bodyPr/>
        <a:lstStyle/>
        <a:p>
          <a:endParaRPr lang="it-IT"/>
        </a:p>
      </dgm:t>
    </dgm:pt>
    <dgm:pt modelId="{4B0463A2-876F-4871-AD63-B4B32D953B87}" type="pres">
      <dgm:prSet presAssocID="{7F3256DC-A91D-4B31-9C5B-2CFEEC1CCED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02A1168C-7C8C-4D96-AFDB-12A6AD8CB0AC}" type="pres">
      <dgm:prSet presAssocID="{C8F16073-C276-439A-ACD9-147EC6C284E2}" presName="parentText" presStyleLbl="node1" presStyleIdx="0" presStyleCnt="1" custScaleY="492844" custLinFactNeighborY="4316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D1335D08-878C-4E55-A228-338786DEC1CF}" srcId="{7F3256DC-A91D-4B31-9C5B-2CFEEC1CCED2}" destId="{C8F16073-C276-439A-ACD9-147EC6C284E2}" srcOrd="0" destOrd="0" parTransId="{808784CB-1010-44F0-A98D-127A4EEF81B4}" sibTransId="{4E479A68-DA8B-4C5E-AFBB-E3F4273CA5B5}"/>
    <dgm:cxn modelId="{C75914AB-DEEE-436C-AFB6-68D70B301A71}" type="presOf" srcId="{C8F16073-C276-439A-ACD9-147EC6C284E2}" destId="{02A1168C-7C8C-4D96-AFDB-12A6AD8CB0AC}" srcOrd="0" destOrd="0" presId="urn:microsoft.com/office/officeart/2005/8/layout/vList2"/>
    <dgm:cxn modelId="{43468E16-B069-4769-8A64-A0E2116F2E61}" type="presOf" srcId="{7F3256DC-A91D-4B31-9C5B-2CFEEC1CCED2}" destId="{4B0463A2-876F-4871-AD63-B4B32D953B87}" srcOrd="0" destOrd="0" presId="urn:microsoft.com/office/officeart/2005/8/layout/vList2"/>
    <dgm:cxn modelId="{C7B3358B-330C-44AA-BBF2-8BAB52F6E716}" type="presParOf" srcId="{4B0463A2-876F-4871-AD63-B4B32D953B87}" destId="{02A1168C-7C8C-4D96-AFDB-12A6AD8CB0A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1.xml><?xml version="1.0" encoding="utf-8"?>
<dgm:dataModel xmlns:dgm="http://schemas.openxmlformats.org/drawingml/2006/diagram" xmlns:a="http://schemas.openxmlformats.org/drawingml/2006/main">
  <dgm:ptLst>
    <dgm:pt modelId="{E06606DF-41CF-48EC-82F2-9A35579D52C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6B1445D9-9B81-4B1A-8C59-DD0A6BB77E7A}">
      <dgm:prSet/>
      <dgm:spPr/>
      <dgm:t>
        <a:bodyPr/>
        <a:lstStyle/>
        <a:p>
          <a:pPr rtl="0"/>
          <a:r>
            <a:rPr lang="it-IT" dirty="0" smtClean="0"/>
            <a:t>Il sistema italiano biotecnologico non dispone di un portafoglio di prodotti innovativi, di brevetti e/o di diritti di proprietà intellettuale di un certo rilievo. </a:t>
          </a:r>
          <a:endParaRPr lang="it-IT" dirty="0"/>
        </a:p>
      </dgm:t>
    </dgm:pt>
    <dgm:pt modelId="{B607F650-6CC7-4380-9D27-62B977935CB0}" type="sibTrans" cxnId="{1F9264E6-E42E-4E30-89B2-125F26E2215F}">
      <dgm:prSet/>
      <dgm:spPr/>
      <dgm:t>
        <a:bodyPr/>
        <a:lstStyle/>
        <a:p>
          <a:endParaRPr lang="it-IT"/>
        </a:p>
      </dgm:t>
    </dgm:pt>
    <dgm:pt modelId="{31C58B04-3A1B-4893-B633-16C375AA3866}" type="parTrans" cxnId="{1F9264E6-E42E-4E30-89B2-125F26E2215F}">
      <dgm:prSet/>
      <dgm:spPr/>
      <dgm:t>
        <a:bodyPr/>
        <a:lstStyle/>
        <a:p>
          <a:endParaRPr lang="it-IT"/>
        </a:p>
      </dgm:t>
    </dgm:pt>
    <dgm:pt modelId="{78F53E9E-31EF-4331-83BD-C975D4ED5366}" type="pres">
      <dgm:prSet presAssocID="{E06606DF-41CF-48EC-82F2-9A35579D52C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BF13854-0590-4926-B64A-DDDC19531637}" type="pres">
      <dgm:prSet presAssocID="{6B1445D9-9B81-4B1A-8C59-DD0A6BB77E7A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F9264E6-E42E-4E30-89B2-125F26E2215F}" srcId="{E06606DF-41CF-48EC-82F2-9A35579D52C2}" destId="{6B1445D9-9B81-4B1A-8C59-DD0A6BB77E7A}" srcOrd="0" destOrd="0" parTransId="{31C58B04-3A1B-4893-B633-16C375AA3866}" sibTransId="{B607F650-6CC7-4380-9D27-62B977935CB0}"/>
    <dgm:cxn modelId="{CF2C9D27-6D3F-4255-8820-E472C43CB0CD}" type="presOf" srcId="{E06606DF-41CF-48EC-82F2-9A35579D52C2}" destId="{78F53E9E-31EF-4331-83BD-C975D4ED5366}" srcOrd="0" destOrd="0" presId="urn:microsoft.com/office/officeart/2005/8/layout/vList2"/>
    <dgm:cxn modelId="{44706094-837B-4605-A0CE-2773D048652A}" type="presOf" srcId="{6B1445D9-9B81-4B1A-8C59-DD0A6BB77E7A}" destId="{ABF13854-0590-4926-B64A-DDDC19531637}" srcOrd="0" destOrd="0" presId="urn:microsoft.com/office/officeart/2005/8/layout/vList2"/>
    <dgm:cxn modelId="{488BD221-64D8-4DA1-B7CA-74350D09861A}" type="presParOf" srcId="{78F53E9E-31EF-4331-83BD-C975D4ED5366}" destId="{ABF13854-0590-4926-B64A-DDDC1953163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72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6A841DEC-D4D6-4251-8EF1-6463F145CECB}" type="presOf" srcId="{188FD03C-7D6A-4D29-8FCB-9C1383057E36}" destId="{C08F212E-D010-4B1B-884C-243E8BB88BD2}" srcOrd="0" destOrd="0" presId="urn:microsoft.com/office/officeart/2005/8/layout/list1"/>
    <dgm:cxn modelId="{DA119092-4689-48F6-8F04-11FB2F2069D0}" type="presOf" srcId="{E4C7AF03-E2BD-4E48-8DAB-C1261D3D7EA9}" destId="{21D380AD-5D38-4835-9FB5-615E5454C686}" srcOrd="1" destOrd="0" presId="urn:microsoft.com/office/officeart/2005/8/layout/list1"/>
    <dgm:cxn modelId="{275EE865-5827-4BF3-BF49-7749861D2602}" type="presOf" srcId="{E4C7AF03-E2BD-4E48-8DAB-C1261D3D7EA9}" destId="{03DB856F-DE91-4CA0-AD05-B356DE21BFDC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DD7EABA0-28E7-42F0-9E9E-7E744696603A}" type="presParOf" srcId="{C08F212E-D010-4B1B-884C-243E8BB88BD2}" destId="{A042C0D5-6636-40E8-83EA-703099528EDB}" srcOrd="0" destOrd="0" presId="urn:microsoft.com/office/officeart/2005/8/layout/list1"/>
    <dgm:cxn modelId="{5170FAF2-CFE6-4774-A42F-1EBDC28BB04F}" type="presParOf" srcId="{A042C0D5-6636-40E8-83EA-703099528EDB}" destId="{03DB856F-DE91-4CA0-AD05-B356DE21BFDC}" srcOrd="0" destOrd="0" presId="urn:microsoft.com/office/officeart/2005/8/layout/list1"/>
    <dgm:cxn modelId="{20A41827-E8EF-43F3-A83A-64B4A00A90A6}" type="presParOf" srcId="{A042C0D5-6636-40E8-83EA-703099528EDB}" destId="{21D380AD-5D38-4835-9FB5-615E5454C686}" srcOrd="1" destOrd="0" presId="urn:microsoft.com/office/officeart/2005/8/layout/list1"/>
    <dgm:cxn modelId="{EBF1DAED-608A-4D1F-82F8-CA104441C9A6}" type="presParOf" srcId="{C08F212E-D010-4B1B-884C-243E8BB88BD2}" destId="{E77B3B8A-36B6-4AF7-9D59-DF889FA8E07C}" srcOrd="1" destOrd="0" presId="urn:microsoft.com/office/officeart/2005/8/layout/list1"/>
    <dgm:cxn modelId="{9F4734D3-0D04-4C91-858D-9C3084E00E9A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3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a posizione competitiva della Sicilia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6E965EC3-BEBA-4C56-A659-037D2BABEE79}" type="presOf" srcId="{72D59079-C521-4525-81A4-701D931A8233}" destId="{9CE9EFE3-4E69-404A-8A99-59388A9E3922}" srcOrd="0" destOrd="0" presId="urn:microsoft.com/office/officeart/2005/8/layout/chevronAccent+Icon"/>
    <dgm:cxn modelId="{8A74C605-3EE2-439C-8773-83D985D041D8}" type="presOf" srcId="{9AF403A6-2C5C-4F1B-B787-47496D3DBC71}" destId="{639FA514-32E4-4E31-8688-3C040A3F30E9}" srcOrd="0" destOrd="0" presId="urn:microsoft.com/office/officeart/2005/8/layout/chevronAccent+Icon"/>
    <dgm:cxn modelId="{895FFE92-55B3-4D23-B374-7D614836FCC4}" type="presParOf" srcId="{639FA514-32E4-4E31-8688-3C040A3F30E9}" destId="{F100BA9B-D4E3-421F-B5D8-42E4C50A115C}" srcOrd="0" destOrd="0" presId="urn:microsoft.com/office/officeart/2005/8/layout/chevronAccent+Icon"/>
    <dgm:cxn modelId="{481DFA14-94C5-4B1C-ADB1-9752C8BFB65B}" type="presParOf" srcId="{F100BA9B-D4E3-421F-B5D8-42E4C50A115C}" destId="{51AD98A5-0898-43D1-8FB1-9AA58104A73C}" srcOrd="0" destOrd="0" presId="urn:microsoft.com/office/officeart/2005/8/layout/chevronAccent+Icon"/>
    <dgm:cxn modelId="{AADD1B49-1B96-4535-903B-E74CA9AF8F63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4.xml><?xml version="1.0" encoding="utf-8"?>
<dgm:dataModel xmlns:dgm="http://schemas.openxmlformats.org/drawingml/2006/diagram" xmlns:a="http://schemas.openxmlformats.org/drawingml/2006/main">
  <dgm:ptLst>
    <dgm:pt modelId="{F07234F4-84A2-44C5-A25C-928F6BA90962}" type="doc">
      <dgm:prSet loTypeId="urn:microsoft.com/office/officeart/2005/8/layout/lProcess3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34061214-5A26-45CA-9EFC-3A84DDE875EC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egli ultimi anni la Sicilia ha promosso una crescente partecipazione del proprio sistema della ricerca in network scientifico-tecnologici</a:t>
          </a:r>
        </a:p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 principali indicatori di settore mostrano un trend di crescita in linea con quello delle altre regioni del Mezzogiorn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EFECE6E-85B4-4F91-924E-BBE2C681FF13}" type="parTrans" cxnId="{8D627B83-08A6-468F-A4DE-519A5B5DFA37}">
      <dgm:prSet/>
      <dgm:spPr/>
      <dgm:t>
        <a:bodyPr/>
        <a:lstStyle/>
        <a:p>
          <a:endParaRPr lang="it-IT"/>
        </a:p>
      </dgm:t>
    </dgm:pt>
    <dgm:pt modelId="{C1081FB6-2BEB-467F-A4C6-695FCAF8CC0E}" type="sibTrans" cxnId="{8D627B83-08A6-468F-A4DE-519A5B5DFA37}">
      <dgm:prSet/>
      <dgm:spPr/>
      <dgm:t>
        <a:bodyPr/>
        <a:lstStyle/>
        <a:p>
          <a:endParaRPr lang="it-IT"/>
        </a:p>
      </dgm:t>
    </dgm:pt>
    <dgm:pt modelId="{6176E429-BCA3-4B76-8296-78ABC572F9A0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e azioni implementate, che mirano alla creazione di un network di laboratori tecnologici capaci di trasferire le scoperte scientifiche all’industria, non solo hanno mitigato i ritardi strutturali del sistema della ricerca regionale, ma hanno anche creato migliori condizioni per un più facile accesso all’offerta della ricerca da parte dell’industria</a:t>
          </a:r>
          <a:r>
            <a:rPr lang="it-IT" dirty="0" smtClean="0"/>
            <a:t>.</a:t>
          </a:r>
          <a:endParaRPr lang="it-IT" dirty="0"/>
        </a:p>
      </dgm:t>
    </dgm:pt>
    <dgm:pt modelId="{9CC8C6DB-84D9-412C-9E4C-BE9ED4AB4E34}" type="parTrans" cxnId="{C1D36233-96E7-4F4A-85C8-5889DE0503E7}">
      <dgm:prSet/>
      <dgm:spPr/>
      <dgm:t>
        <a:bodyPr/>
        <a:lstStyle/>
        <a:p>
          <a:endParaRPr lang="it-IT"/>
        </a:p>
      </dgm:t>
    </dgm:pt>
    <dgm:pt modelId="{35C6B8A6-1449-4AA0-889F-B25E503E458F}" type="sibTrans" cxnId="{C1D36233-96E7-4F4A-85C8-5889DE0503E7}">
      <dgm:prSet/>
      <dgm:spPr/>
      <dgm:t>
        <a:bodyPr/>
        <a:lstStyle/>
        <a:p>
          <a:endParaRPr lang="it-IT"/>
        </a:p>
      </dgm:t>
    </dgm:pt>
    <dgm:pt modelId="{FD4BE1AC-B931-41D1-B76D-ED6C743CF95C}" type="pres">
      <dgm:prSet presAssocID="{F07234F4-84A2-44C5-A25C-928F6BA90962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it-IT"/>
        </a:p>
      </dgm:t>
    </dgm:pt>
    <dgm:pt modelId="{B9DBDB6C-FAAA-4CF8-B94A-A176DD632E30}" type="pres">
      <dgm:prSet presAssocID="{34061214-5A26-45CA-9EFC-3A84DDE875EC}" presName="horFlow" presStyleCnt="0"/>
      <dgm:spPr/>
    </dgm:pt>
    <dgm:pt modelId="{BC48F6CD-0086-43F5-862E-8C5F749FC497}" type="pres">
      <dgm:prSet presAssocID="{34061214-5A26-45CA-9EFC-3A84DDE875EC}" presName="bigChev" presStyleLbl="node1" presStyleIdx="0" presStyleCnt="2" custScaleX="158886" custScaleY="115935"/>
      <dgm:spPr/>
      <dgm:t>
        <a:bodyPr/>
        <a:lstStyle/>
        <a:p>
          <a:endParaRPr lang="it-IT"/>
        </a:p>
      </dgm:t>
    </dgm:pt>
    <dgm:pt modelId="{C3CA8593-1B23-4FD8-9D12-2855D8B8CD6F}" type="pres">
      <dgm:prSet presAssocID="{34061214-5A26-45CA-9EFC-3A84DDE875EC}" presName="vSp" presStyleCnt="0"/>
      <dgm:spPr/>
    </dgm:pt>
    <dgm:pt modelId="{0C06109A-F747-448B-8F1B-1C9FED17FAA6}" type="pres">
      <dgm:prSet presAssocID="{6176E429-BCA3-4B76-8296-78ABC572F9A0}" presName="horFlow" presStyleCnt="0"/>
      <dgm:spPr/>
    </dgm:pt>
    <dgm:pt modelId="{171B0213-E8F7-4FD8-9FB8-984FB83C3AB0}" type="pres">
      <dgm:prSet presAssocID="{6176E429-BCA3-4B76-8296-78ABC572F9A0}" presName="bigChev" presStyleLbl="node1" presStyleIdx="1" presStyleCnt="2" custScaleX="158886" custScaleY="115935"/>
      <dgm:spPr/>
      <dgm:t>
        <a:bodyPr/>
        <a:lstStyle/>
        <a:p>
          <a:endParaRPr lang="it-IT"/>
        </a:p>
      </dgm:t>
    </dgm:pt>
  </dgm:ptLst>
  <dgm:cxnLst>
    <dgm:cxn modelId="{8D627B83-08A6-468F-A4DE-519A5B5DFA37}" srcId="{F07234F4-84A2-44C5-A25C-928F6BA90962}" destId="{34061214-5A26-45CA-9EFC-3A84DDE875EC}" srcOrd="0" destOrd="0" parTransId="{3EFECE6E-85B4-4F91-924E-BBE2C681FF13}" sibTransId="{C1081FB6-2BEB-467F-A4C6-695FCAF8CC0E}"/>
    <dgm:cxn modelId="{C1D36233-96E7-4F4A-85C8-5889DE0503E7}" srcId="{F07234F4-84A2-44C5-A25C-928F6BA90962}" destId="{6176E429-BCA3-4B76-8296-78ABC572F9A0}" srcOrd="1" destOrd="0" parTransId="{9CC8C6DB-84D9-412C-9E4C-BE9ED4AB4E34}" sibTransId="{35C6B8A6-1449-4AA0-889F-B25E503E458F}"/>
    <dgm:cxn modelId="{D1D79124-09D1-4CC6-9C60-F4619D26F19B}" type="presOf" srcId="{F07234F4-84A2-44C5-A25C-928F6BA90962}" destId="{FD4BE1AC-B931-41D1-B76D-ED6C743CF95C}" srcOrd="0" destOrd="0" presId="urn:microsoft.com/office/officeart/2005/8/layout/lProcess3"/>
    <dgm:cxn modelId="{CDD264D2-C815-4D3C-A78F-E5B030915DC9}" type="presOf" srcId="{6176E429-BCA3-4B76-8296-78ABC572F9A0}" destId="{171B0213-E8F7-4FD8-9FB8-984FB83C3AB0}" srcOrd="0" destOrd="0" presId="urn:microsoft.com/office/officeart/2005/8/layout/lProcess3"/>
    <dgm:cxn modelId="{64D40436-D340-4F26-9D46-D507A632EF52}" type="presOf" srcId="{34061214-5A26-45CA-9EFC-3A84DDE875EC}" destId="{BC48F6CD-0086-43F5-862E-8C5F749FC497}" srcOrd="0" destOrd="0" presId="urn:microsoft.com/office/officeart/2005/8/layout/lProcess3"/>
    <dgm:cxn modelId="{6AFDF902-8919-4F5D-AE00-9C8109410863}" type="presParOf" srcId="{FD4BE1AC-B931-41D1-B76D-ED6C743CF95C}" destId="{B9DBDB6C-FAAA-4CF8-B94A-A176DD632E30}" srcOrd="0" destOrd="0" presId="urn:microsoft.com/office/officeart/2005/8/layout/lProcess3"/>
    <dgm:cxn modelId="{064FF2E7-1D1E-40A8-8039-0E0C51183D91}" type="presParOf" srcId="{B9DBDB6C-FAAA-4CF8-B94A-A176DD632E30}" destId="{BC48F6CD-0086-43F5-862E-8C5F749FC497}" srcOrd="0" destOrd="0" presId="urn:microsoft.com/office/officeart/2005/8/layout/lProcess3"/>
    <dgm:cxn modelId="{1F3CA67F-B32C-45B9-A96D-6D4CE59E7942}" type="presParOf" srcId="{FD4BE1AC-B931-41D1-B76D-ED6C743CF95C}" destId="{C3CA8593-1B23-4FD8-9D12-2855D8B8CD6F}" srcOrd="1" destOrd="0" presId="urn:microsoft.com/office/officeart/2005/8/layout/lProcess3"/>
    <dgm:cxn modelId="{FD50AC23-1F11-49FE-8B87-11520C90C4B8}" type="presParOf" srcId="{FD4BE1AC-B931-41D1-B76D-ED6C743CF95C}" destId="{0C06109A-F747-448B-8F1B-1C9FED17FAA6}" srcOrd="2" destOrd="0" presId="urn:microsoft.com/office/officeart/2005/8/layout/lProcess3"/>
    <dgm:cxn modelId="{79729B21-0FB6-4A29-86B9-66FFD5532168}" type="presParOf" srcId="{0C06109A-F747-448B-8F1B-1C9FED17FAA6}" destId="{171B0213-E8F7-4FD8-9FB8-984FB83C3AB0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5.xml><?xml version="1.0" encoding="utf-8"?>
<dgm:dataModel xmlns:dgm="http://schemas.openxmlformats.org/drawingml/2006/diagram" xmlns:a="http://schemas.openxmlformats.org/drawingml/2006/main">
  <dgm:ptLst>
    <dgm:pt modelId="{CC2789F4-41EA-4373-BFAA-7D9A85C994D0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4A02F555-3F24-4781-95EB-76B7939F387D}">
      <dgm:prSet/>
      <dgm:spPr/>
      <dgm:t>
        <a:bodyPr/>
        <a:lstStyle/>
        <a:p>
          <a:pPr algn="just" rtl="0"/>
          <a:r>
            <a:rPr lang="it-IT" dirty="0" smtClean="0"/>
            <a:t>Il contesto siciliano si distingue dal resto del Sud dell'Italia per l'impegno nel comparto farmaceutico e biomedicale in quanto ad investimenti e ricerca</a:t>
          </a:r>
          <a:endParaRPr lang="it-IT" dirty="0"/>
        </a:p>
      </dgm:t>
    </dgm:pt>
    <dgm:pt modelId="{F6EE3CAB-0603-4C8D-95F9-1E1618877C2F}" type="parTrans" cxnId="{AFF62E9F-1C09-4875-96C8-2EBB7B163C6A}">
      <dgm:prSet/>
      <dgm:spPr/>
      <dgm:t>
        <a:bodyPr/>
        <a:lstStyle/>
        <a:p>
          <a:endParaRPr lang="it-IT"/>
        </a:p>
      </dgm:t>
    </dgm:pt>
    <dgm:pt modelId="{72EF4541-FA6B-4B00-873C-08F9275CF6BC}" type="sibTrans" cxnId="{AFF62E9F-1C09-4875-96C8-2EBB7B163C6A}">
      <dgm:prSet/>
      <dgm:spPr/>
      <dgm:t>
        <a:bodyPr/>
        <a:lstStyle/>
        <a:p>
          <a:endParaRPr lang="it-IT"/>
        </a:p>
      </dgm:t>
    </dgm:pt>
    <dgm:pt modelId="{B1ACB6D8-3999-4555-A709-BFE2962903E4}">
      <dgm:prSet/>
      <dgm:spPr/>
      <dgm:t>
        <a:bodyPr/>
        <a:lstStyle/>
        <a:p>
          <a:pPr algn="just" rtl="0"/>
          <a:r>
            <a:rPr lang="it-IT" dirty="0" smtClean="0"/>
            <a:t>Lo scenario relativo all'industria farmaceutica vera e propria, è caratterizzato dalla presenza di imprese di dimensione media e grande, sia nazionali che estere e da una significativa attività di ricerca intramuros, che le ha rese leader nel mercato internazionale di alcune tipologie di prodotti</a:t>
          </a:r>
          <a:endParaRPr lang="it-IT" dirty="0"/>
        </a:p>
      </dgm:t>
    </dgm:pt>
    <dgm:pt modelId="{DC92CFEF-33ED-440D-90E9-82446C94C9F6}" type="parTrans" cxnId="{14C120CE-A657-47F9-B87E-3D31D3CAC95C}">
      <dgm:prSet/>
      <dgm:spPr/>
      <dgm:t>
        <a:bodyPr/>
        <a:lstStyle/>
        <a:p>
          <a:endParaRPr lang="it-IT"/>
        </a:p>
      </dgm:t>
    </dgm:pt>
    <dgm:pt modelId="{E0BF9FE8-BDF9-42A7-80E2-CE07D4BA7D30}" type="sibTrans" cxnId="{14C120CE-A657-47F9-B87E-3D31D3CAC95C}">
      <dgm:prSet/>
      <dgm:spPr/>
      <dgm:t>
        <a:bodyPr/>
        <a:lstStyle/>
        <a:p>
          <a:endParaRPr lang="it-IT"/>
        </a:p>
      </dgm:t>
    </dgm:pt>
    <dgm:pt modelId="{81B1E6E5-942E-4016-8F43-55580EF46A01}">
      <dgm:prSet/>
      <dgm:spPr/>
      <dgm:t>
        <a:bodyPr/>
        <a:lstStyle/>
        <a:p>
          <a:pPr algn="just" rtl="0"/>
          <a:r>
            <a:rPr lang="it-IT" dirty="0" smtClean="0"/>
            <a:t>In Sicilia la tradizione farmaceutica imprenditoriale è ben rappresentata e già radicata a Catania e a Noto(SR), anche con realtà di spicco, con radici territoriali solide ed al tempo stesso con una forte vocazione all’internazionalizzazione. </a:t>
          </a:r>
          <a:endParaRPr lang="it-IT" dirty="0"/>
        </a:p>
      </dgm:t>
    </dgm:pt>
    <dgm:pt modelId="{1DEF7FBF-9939-4865-99C5-49D24776512C}" type="parTrans" cxnId="{BC7B1B58-A537-4E34-932E-EAFD19D732C2}">
      <dgm:prSet/>
      <dgm:spPr/>
      <dgm:t>
        <a:bodyPr/>
        <a:lstStyle/>
        <a:p>
          <a:endParaRPr lang="it-IT"/>
        </a:p>
      </dgm:t>
    </dgm:pt>
    <dgm:pt modelId="{11360593-8436-424F-A4A6-B8623AF8FDBF}" type="sibTrans" cxnId="{BC7B1B58-A537-4E34-932E-EAFD19D732C2}">
      <dgm:prSet/>
      <dgm:spPr/>
      <dgm:t>
        <a:bodyPr/>
        <a:lstStyle/>
        <a:p>
          <a:endParaRPr lang="it-IT"/>
        </a:p>
      </dgm:t>
    </dgm:pt>
    <dgm:pt modelId="{110C4DF5-CE89-4EFB-97A4-BBB6B0235DCB}" type="pres">
      <dgm:prSet presAssocID="{CC2789F4-41EA-4373-BFAA-7D9A85C994D0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7D79CDED-D6A1-4A6D-9C07-64327066B11C}" type="pres">
      <dgm:prSet presAssocID="{4A02F555-3F24-4781-95EB-76B7939F387D}" presName="thickLine" presStyleLbl="alignNode1" presStyleIdx="0" presStyleCnt="3"/>
      <dgm:spPr/>
    </dgm:pt>
    <dgm:pt modelId="{5E98C0FF-E730-4331-8770-10E5B23934AA}" type="pres">
      <dgm:prSet presAssocID="{4A02F555-3F24-4781-95EB-76B7939F387D}" presName="horz1" presStyleCnt="0"/>
      <dgm:spPr/>
    </dgm:pt>
    <dgm:pt modelId="{911A9EFC-1577-4715-8850-7D8485817ED1}" type="pres">
      <dgm:prSet presAssocID="{4A02F555-3F24-4781-95EB-76B7939F387D}" presName="tx1" presStyleLbl="revTx" presStyleIdx="0" presStyleCnt="3" custScaleY="25311"/>
      <dgm:spPr/>
      <dgm:t>
        <a:bodyPr/>
        <a:lstStyle/>
        <a:p>
          <a:endParaRPr lang="it-IT"/>
        </a:p>
      </dgm:t>
    </dgm:pt>
    <dgm:pt modelId="{C350EF42-5E1B-495F-B739-1ECBEE726098}" type="pres">
      <dgm:prSet presAssocID="{4A02F555-3F24-4781-95EB-76B7939F387D}" presName="vert1" presStyleCnt="0"/>
      <dgm:spPr/>
    </dgm:pt>
    <dgm:pt modelId="{71B972C5-9654-4A1A-B880-C612C5C639D0}" type="pres">
      <dgm:prSet presAssocID="{B1ACB6D8-3999-4555-A709-BFE2962903E4}" presName="thickLine" presStyleLbl="alignNode1" presStyleIdx="1" presStyleCnt="3"/>
      <dgm:spPr/>
    </dgm:pt>
    <dgm:pt modelId="{94BEAE20-0B99-48D3-ABF0-112B29E01DCC}" type="pres">
      <dgm:prSet presAssocID="{B1ACB6D8-3999-4555-A709-BFE2962903E4}" presName="horz1" presStyleCnt="0"/>
      <dgm:spPr/>
    </dgm:pt>
    <dgm:pt modelId="{D7CCB37C-6248-42C0-84ED-CAA26B1DA090}" type="pres">
      <dgm:prSet presAssocID="{B1ACB6D8-3999-4555-A709-BFE2962903E4}" presName="tx1" presStyleLbl="revTx" presStyleIdx="1" presStyleCnt="3" custScaleY="45990"/>
      <dgm:spPr/>
      <dgm:t>
        <a:bodyPr/>
        <a:lstStyle/>
        <a:p>
          <a:endParaRPr lang="it-IT"/>
        </a:p>
      </dgm:t>
    </dgm:pt>
    <dgm:pt modelId="{E3929292-987B-4BC9-BC83-87A542E8B7FA}" type="pres">
      <dgm:prSet presAssocID="{B1ACB6D8-3999-4555-A709-BFE2962903E4}" presName="vert1" presStyleCnt="0"/>
      <dgm:spPr/>
    </dgm:pt>
    <dgm:pt modelId="{387120A3-D05F-42E6-8BAA-4BF0DA1792C5}" type="pres">
      <dgm:prSet presAssocID="{81B1E6E5-942E-4016-8F43-55580EF46A01}" presName="thickLine" presStyleLbl="alignNode1" presStyleIdx="2" presStyleCnt="3"/>
      <dgm:spPr/>
    </dgm:pt>
    <dgm:pt modelId="{AD3708C1-5AE2-47AA-A6B6-1E9607A72B52}" type="pres">
      <dgm:prSet presAssocID="{81B1E6E5-942E-4016-8F43-55580EF46A01}" presName="horz1" presStyleCnt="0"/>
      <dgm:spPr/>
    </dgm:pt>
    <dgm:pt modelId="{D4C8109A-1BEB-42E9-A086-DBDC1A45B6FC}" type="pres">
      <dgm:prSet presAssocID="{81B1E6E5-942E-4016-8F43-55580EF46A01}" presName="tx1" presStyleLbl="revTx" presStyleIdx="2" presStyleCnt="3" custScaleY="48692"/>
      <dgm:spPr/>
      <dgm:t>
        <a:bodyPr/>
        <a:lstStyle/>
        <a:p>
          <a:endParaRPr lang="it-IT"/>
        </a:p>
      </dgm:t>
    </dgm:pt>
    <dgm:pt modelId="{D0669DE1-24D1-49F0-AC29-09493418834F}" type="pres">
      <dgm:prSet presAssocID="{81B1E6E5-942E-4016-8F43-55580EF46A01}" presName="vert1" presStyleCnt="0"/>
      <dgm:spPr/>
    </dgm:pt>
  </dgm:ptLst>
  <dgm:cxnLst>
    <dgm:cxn modelId="{BC7B1B58-A537-4E34-932E-EAFD19D732C2}" srcId="{CC2789F4-41EA-4373-BFAA-7D9A85C994D0}" destId="{81B1E6E5-942E-4016-8F43-55580EF46A01}" srcOrd="2" destOrd="0" parTransId="{1DEF7FBF-9939-4865-99C5-49D24776512C}" sibTransId="{11360593-8436-424F-A4A6-B8623AF8FDBF}"/>
    <dgm:cxn modelId="{14C120CE-A657-47F9-B87E-3D31D3CAC95C}" srcId="{CC2789F4-41EA-4373-BFAA-7D9A85C994D0}" destId="{B1ACB6D8-3999-4555-A709-BFE2962903E4}" srcOrd="1" destOrd="0" parTransId="{DC92CFEF-33ED-440D-90E9-82446C94C9F6}" sibTransId="{E0BF9FE8-BDF9-42A7-80E2-CE07D4BA7D30}"/>
    <dgm:cxn modelId="{CD0E9B1C-3DC2-4367-AA03-DC4DBE1600E7}" type="presOf" srcId="{4A02F555-3F24-4781-95EB-76B7939F387D}" destId="{911A9EFC-1577-4715-8850-7D8485817ED1}" srcOrd="0" destOrd="0" presId="urn:microsoft.com/office/officeart/2008/layout/LinedList"/>
    <dgm:cxn modelId="{DC817AE5-DB63-44F6-BA7E-67AC521B9400}" type="presOf" srcId="{CC2789F4-41EA-4373-BFAA-7D9A85C994D0}" destId="{110C4DF5-CE89-4EFB-97A4-BBB6B0235DCB}" srcOrd="0" destOrd="0" presId="urn:microsoft.com/office/officeart/2008/layout/LinedList"/>
    <dgm:cxn modelId="{3E436652-6722-4370-A362-2441534D1B42}" type="presOf" srcId="{B1ACB6D8-3999-4555-A709-BFE2962903E4}" destId="{D7CCB37C-6248-42C0-84ED-CAA26B1DA090}" srcOrd="0" destOrd="0" presId="urn:microsoft.com/office/officeart/2008/layout/LinedList"/>
    <dgm:cxn modelId="{AFF62E9F-1C09-4875-96C8-2EBB7B163C6A}" srcId="{CC2789F4-41EA-4373-BFAA-7D9A85C994D0}" destId="{4A02F555-3F24-4781-95EB-76B7939F387D}" srcOrd="0" destOrd="0" parTransId="{F6EE3CAB-0603-4C8D-95F9-1E1618877C2F}" sibTransId="{72EF4541-FA6B-4B00-873C-08F9275CF6BC}"/>
    <dgm:cxn modelId="{F67DC1AF-B0F5-4051-A3BE-80BD39DB3E84}" type="presOf" srcId="{81B1E6E5-942E-4016-8F43-55580EF46A01}" destId="{D4C8109A-1BEB-42E9-A086-DBDC1A45B6FC}" srcOrd="0" destOrd="0" presId="urn:microsoft.com/office/officeart/2008/layout/LinedList"/>
    <dgm:cxn modelId="{15F7249F-FD83-4DD5-BF29-AC927828FEE3}" type="presParOf" srcId="{110C4DF5-CE89-4EFB-97A4-BBB6B0235DCB}" destId="{7D79CDED-D6A1-4A6D-9C07-64327066B11C}" srcOrd="0" destOrd="0" presId="urn:microsoft.com/office/officeart/2008/layout/LinedList"/>
    <dgm:cxn modelId="{582F8622-B9B5-44C1-84A8-49E5909CF40E}" type="presParOf" srcId="{110C4DF5-CE89-4EFB-97A4-BBB6B0235DCB}" destId="{5E98C0FF-E730-4331-8770-10E5B23934AA}" srcOrd="1" destOrd="0" presId="urn:microsoft.com/office/officeart/2008/layout/LinedList"/>
    <dgm:cxn modelId="{9583098E-EAC7-495E-A765-7072226042A1}" type="presParOf" srcId="{5E98C0FF-E730-4331-8770-10E5B23934AA}" destId="{911A9EFC-1577-4715-8850-7D8485817ED1}" srcOrd="0" destOrd="0" presId="urn:microsoft.com/office/officeart/2008/layout/LinedList"/>
    <dgm:cxn modelId="{F7DDC1F2-DAA4-4B35-9BD7-E61245FE2344}" type="presParOf" srcId="{5E98C0FF-E730-4331-8770-10E5B23934AA}" destId="{C350EF42-5E1B-495F-B739-1ECBEE726098}" srcOrd="1" destOrd="0" presId="urn:microsoft.com/office/officeart/2008/layout/LinedList"/>
    <dgm:cxn modelId="{E807491D-80FD-4D9F-B785-EA5C1CE61E4F}" type="presParOf" srcId="{110C4DF5-CE89-4EFB-97A4-BBB6B0235DCB}" destId="{71B972C5-9654-4A1A-B880-C612C5C639D0}" srcOrd="2" destOrd="0" presId="urn:microsoft.com/office/officeart/2008/layout/LinedList"/>
    <dgm:cxn modelId="{21C565D6-C44A-43CF-B7FD-EE128FEEDE1D}" type="presParOf" srcId="{110C4DF5-CE89-4EFB-97A4-BBB6B0235DCB}" destId="{94BEAE20-0B99-48D3-ABF0-112B29E01DCC}" srcOrd="3" destOrd="0" presId="urn:microsoft.com/office/officeart/2008/layout/LinedList"/>
    <dgm:cxn modelId="{125D2553-931C-40FF-946F-988344E4DFA2}" type="presParOf" srcId="{94BEAE20-0B99-48D3-ABF0-112B29E01DCC}" destId="{D7CCB37C-6248-42C0-84ED-CAA26B1DA090}" srcOrd="0" destOrd="0" presId="urn:microsoft.com/office/officeart/2008/layout/LinedList"/>
    <dgm:cxn modelId="{1E14B72D-B945-4902-9172-BA9124F19E8B}" type="presParOf" srcId="{94BEAE20-0B99-48D3-ABF0-112B29E01DCC}" destId="{E3929292-987B-4BC9-BC83-87A542E8B7FA}" srcOrd="1" destOrd="0" presId="urn:microsoft.com/office/officeart/2008/layout/LinedList"/>
    <dgm:cxn modelId="{31C5B2F8-7782-47F1-B703-9EEBF90CF794}" type="presParOf" srcId="{110C4DF5-CE89-4EFB-97A4-BBB6B0235DCB}" destId="{387120A3-D05F-42E6-8BAA-4BF0DA1792C5}" srcOrd="4" destOrd="0" presId="urn:microsoft.com/office/officeart/2008/layout/LinedList"/>
    <dgm:cxn modelId="{4A2AF956-88CA-43F7-830D-8B029170A30E}" type="presParOf" srcId="{110C4DF5-CE89-4EFB-97A4-BBB6B0235DCB}" destId="{AD3708C1-5AE2-47AA-A6B6-1E9607A72B52}" srcOrd="5" destOrd="0" presId="urn:microsoft.com/office/officeart/2008/layout/LinedList"/>
    <dgm:cxn modelId="{9611B776-19D4-4078-8506-30A14567A132}" type="presParOf" srcId="{AD3708C1-5AE2-47AA-A6B6-1E9607A72B52}" destId="{D4C8109A-1BEB-42E9-A086-DBDC1A45B6FC}" srcOrd="0" destOrd="0" presId="urn:microsoft.com/office/officeart/2008/layout/LinedList"/>
    <dgm:cxn modelId="{015DCF32-8FA1-4077-8FC0-BA3F70C638A5}" type="presParOf" srcId="{AD3708C1-5AE2-47AA-A6B6-1E9607A72B52}" destId="{D0669DE1-24D1-49F0-AC29-09493418834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6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 custT="1"/>
      <dgm:spPr/>
      <dgm:t>
        <a:bodyPr/>
        <a:lstStyle/>
        <a:p>
          <a:pPr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FE4FE00B-9000-4644-9057-80E8394F9D45}" type="presOf" srcId="{E4C7AF03-E2BD-4E48-8DAB-C1261D3D7EA9}" destId="{21D380AD-5D38-4835-9FB5-615E5454C686}" srcOrd="1" destOrd="0" presId="urn:microsoft.com/office/officeart/2005/8/layout/list1"/>
    <dgm:cxn modelId="{CE9299E7-1278-4A9B-949D-03AC0C53A776}" type="presOf" srcId="{E4C7AF03-E2BD-4E48-8DAB-C1261D3D7EA9}" destId="{03DB856F-DE91-4CA0-AD05-B356DE21BFDC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707811CA-F4AF-4BBE-AC6A-9CC5140A26A6}" type="presOf" srcId="{188FD03C-7D6A-4D29-8FCB-9C1383057E36}" destId="{C08F212E-D010-4B1B-884C-243E8BB88BD2}" srcOrd="0" destOrd="0" presId="urn:microsoft.com/office/officeart/2005/8/layout/list1"/>
    <dgm:cxn modelId="{3CDECF9C-E2B1-4085-A052-DE5E902A1FD2}" type="presParOf" srcId="{C08F212E-D010-4B1B-884C-243E8BB88BD2}" destId="{A042C0D5-6636-40E8-83EA-703099528EDB}" srcOrd="0" destOrd="0" presId="urn:microsoft.com/office/officeart/2005/8/layout/list1"/>
    <dgm:cxn modelId="{F55F92B5-D046-468B-9999-7B38539EFF8C}" type="presParOf" srcId="{A042C0D5-6636-40E8-83EA-703099528EDB}" destId="{03DB856F-DE91-4CA0-AD05-B356DE21BFDC}" srcOrd="0" destOrd="0" presId="urn:microsoft.com/office/officeart/2005/8/layout/list1"/>
    <dgm:cxn modelId="{BF740C43-8111-4722-A979-325DEE3BBBCE}" type="presParOf" srcId="{A042C0D5-6636-40E8-83EA-703099528EDB}" destId="{21D380AD-5D38-4835-9FB5-615E5454C686}" srcOrd="1" destOrd="0" presId="urn:microsoft.com/office/officeart/2005/8/layout/list1"/>
    <dgm:cxn modelId="{9EF88ED7-61D3-4FD3-A210-491717305289}" type="presParOf" srcId="{C08F212E-D010-4B1B-884C-243E8BB88BD2}" destId="{E77B3B8A-36B6-4AF7-9D59-DF889FA8E07C}" srcOrd="1" destOrd="0" presId="urn:microsoft.com/office/officeart/2005/8/layout/list1"/>
    <dgm:cxn modelId="{86B3708A-6452-4206-97E6-A9BC682DEC19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7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Competenze scientifiche e tecnologiche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1526860B-2CC4-44EE-8DEC-449DD35454B3}" type="presOf" srcId="{9AF403A6-2C5C-4F1B-B787-47496D3DBC71}" destId="{639FA514-32E4-4E31-8688-3C040A3F30E9}" srcOrd="0" destOrd="0" presId="urn:microsoft.com/office/officeart/2005/8/layout/chevronAccent+Icon"/>
    <dgm:cxn modelId="{C2EB607F-0AA6-4664-8B8D-FA9AA57CA2A5}" type="presOf" srcId="{72D59079-C521-4525-81A4-701D931A8233}" destId="{9CE9EFE3-4E69-404A-8A99-59388A9E3922}" srcOrd="0" destOrd="0" presId="urn:microsoft.com/office/officeart/2005/8/layout/chevronAccent+Icon"/>
    <dgm:cxn modelId="{EBCCCC74-5FF3-4EB3-A655-C66B2067BB0B}" type="presParOf" srcId="{639FA514-32E4-4E31-8688-3C040A3F30E9}" destId="{F100BA9B-D4E3-421F-B5D8-42E4C50A115C}" srcOrd="0" destOrd="0" presId="urn:microsoft.com/office/officeart/2005/8/layout/chevronAccent+Icon"/>
    <dgm:cxn modelId="{37B41503-9F1C-4FA7-B859-6CED48F49CC0}" type="presParOf" srcId="{F100BA9B-D4E3-421F-B5D8-42E4C50A115C}" destId="{51AD98A5-0898-43D1-8FB1-9AA58104A73C}" srcOrd="0" destOrd="0" presId="urn:microsoft.com/office/officeart/2005/8/layout/chevronAccent+Icon"/>
    <dgm:cxn modelId="{E05FDEAA-869C-4121-AC2F-0A06E7EB9636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8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 custT="1"/>
      <dgm:spPr/>
      <dgm:t>
        <a:bodyPr/>
        <a:lstStyle/>
        <a:p>
          <a:pPr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334984D7-DD35-4928-80A4-F76D2EBFC767}" type="presOf" srcId="{E4C7AF03-E2BD-4E48-8DAB-C1261D3D7EA9}" destId="{03DB856F-DE91-4CA0-AD05-B356DE21BFDC}" srcOrd="0" destOrd="0" presId="urn:microsoft.com/office/officeart/2005/8/layout/list1"/>
    <dgm:cxn modelId="{9D679EE3-6DA9-4BF7-A2FD-D4FC7EEC27C5}" type="presOf" srcId="{E4C7AF03-E2BD-4E48-8DAB-C1261D3D7EA9}" destId="{21D380AD-5D38-4835-9FB5-615E5454C686}" srcOrd="1" destOrd="0" presId="urn:microsoft.com/office/officeart/2005/8/layout/list1"/>
    <dgm:cxn modelId="{E3427407-D958-4A79-8E2D-CD02E2F719A5}" type="presOf" srcId="{188FD03C-7D6A-4D29-8FCB-9C1383057E36}" destId="{C08F212E-D010-4B1B-884C-243E8BB88BD2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5FB69412-6B01-44D1-B7BA-364E653C88E0}" type="presParOf" srcId="{C08F212E-D010-4B1B-884C-243E8BB88BD2}" destId="{A042C0D5-6636-40E8-83EA-703099528EDB}" srcOrd="0" destOrd="0" presId="urn:microsoft.com/office/officeart/2005/8/layout/list1"/>
    <dgm:cxn modelId="{F339DFF9-75F3-4417-BE90-47D503C0EEF5}" type="presParOf" srcId="{A042C0D5-6636-40E8-83EA-703099528EDB}" destId="{03DB856F-DE91-4CA0-AD05-B356DE21BFDC}" srcOrd="0" destOrd="0" presId="urn:microsoft.com/office/officeart/2005/8/layout/list1"/>
    <dgm:cxn modelId="{ECE6A1C7-36D3-4C42-9A9E-3C2B42457E8D}" type="presParOf" srcId="{A042C0D5-6636-40E8-83EA-703099528EDB}" destId="{21D380AD-5D38-4835-9FB5-615E5454C686}" srcOrd="1" destOrd="0" presId="urn:microsoft.com/office/officeart/2005/8/layout/list1"/>
    <dgm:cxn modelId="{311E9D6E-34DC-4F68-8C67-90E02848557F}" type="presParOf" srcId="{C08F212E-D010-4B1B-884C-243E8BB88BD2}" destId="{E77B3B8A-36B6-4AF7-9D59-DF889FA8E07C}" srcOrd="1" destOrd="0" presId="urn:microsoft.com/office/officeart/2005/8/layout/list1"/>
    <dgm:cxn modelId="{34EA70F6-240D-400D-B8C0-816D2A636AD5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9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Competenze scientifiche e tecnologiche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EBEB94EF-CAA4-4D57-BF58-8BE3B0455563}" type="presOf" srcId="{72D59079-C521-4525-81A4-701D931A8233}" destId="{9CE9EFE3-4E69-404A-8A99-59388A9E3922}" srcOrd="0" destOrd="0" presId="urn:microsoft.com/office/officeart/2005/8/layout/chevronAccent+Icon"/>
    <dgm:cxn modelId="{5B5B571D-7462-4821-962F-5EF0E47EC2E8}" type="presOf" srcId="{9AF403A6-2C5C-4F1B-B787-47496D3DBC71}" destId="{639FA514-32E4-4E31-8688-3C040A3F30E9}" srcOrd="0" destOrd="0" presId="urn:microsoft.com/office/officeart/2005/8/layout/chevronAccent+Icon"/>
    <dgm:cxn modelId="{13857BA4-3D15-40A2-A683-32F78AB05B40}" type="presParOf" srcId="{639FA514-32E4-4E31-8688-3C040A3F30E9}" destId="{F100BA9B-D4E3-421F-B5D8-42E4C50A115C}" srcOrd="0" destOrd="0" presId="urn:microsoft.com/office/officeart/2005/8/layout/chevronAccent+Icon"/>
    <dgm:cxn modelId="{08C58AE2-7D90-4BF6-A972-7BDF4A13BA15}" type="presParOf" srcId="{F100BA9B-D4E3-421F-B5D8-42E4C50A115C}" destId="{51AD98A5-0898-43D1-8FB1-9AA58104A73C}" srcOrd="0" destOrd="0" presId="urn:microsoft.com/office/officeart/2005/8/layout/chevronAccent+Icon"/>
    <dgm:cxn modelId="{3E2E4AF4-3734-42DA-971F-D81AC7DB00FB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3075584-0A09-4F92-A3EE-4594CC46FEDC}" type="doc">
      <dgm:prSet loTypeId="urn:microsoft.com/office/officeart/2008/layout/LinedList" loCatId="list" qsTypeId="urn:microsoft.com/office/officeart/2005/8/quickstyle/simple1#6" qsCatId="simple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4DBD1FB0-9DEC-4BF1-BDFE-C56F2660AE47}">
      <dgm:prSet custT="1"/>
      <dgm:spPr/>
      <dgm:t>
        <a:bodyPr/>
        <a:lstStyle/>
        <a:p>
          <a:pPr algn="just" rtl="0"/>
          <a:endParaRPr lang="it-IT" sz="1800" b="1" i="0" dirty="0">
            <a:solidFill>
              <a:srgbClr val="C00000"/>
            </a:solidFill>
          </a:endParaRPr>
        </a:p>
      </dgm:t>
    </dgm:pt>
    <dgm:pt modelId="{977500EF-1C8F-4ABA-A49C-70BA86BBB338}" type="par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95AA54F3-60A7-4C69-9BA0-A132406858AF}" type="sib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D7EA6325-6413-4438-83E4-6701E2C57717}" type="pres">
      <dgm:prSet presAssocID="{43075584-0A09-4F92-A3EE-4594CC46FEDC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C53CC59A-ED65-4B0D-9470-3F18E593A142}" type="pres">
      <dgm:prSet presAssocID="{4DBD1FB0-9DEC-4BF1-BDFE-C56F2660AE47}" presName="thickLine" presStyleLbl="alignNode1" presStyleIdx="0" presStyleCnt="1"/>
      <dgm:spPr/>
    </dgm:pt>
    <dgm:pt modelId="{CCBE2F35-B449-4304-A4B7-EB4A0CE90FAA}" type="pres">
      <dgm:prSet presAssocID="{4DBD1FB0-9DEC-4BF1-BDFE-C56F2660AE47}" presName="horz1" presStyleCnt="0"/>
      <dgm:spPr/>
    </dgm:pt>
    <dgm:pt modelId="{2E4F97BB-80AE-4B89-8B32-FB05A53BD028}" type="pres">
      <dgm:prSet presAssocID="{4DBD1FB0-9DEC-4BF1-BDFE-C56F2660AE47}" presName="tx1" presStyleLbl="revTx" presStyleIdx="0" presStyleCnt="1" custLinFactNeighborY="-36433"/>
      <dgm:spPr/>
      <dgm:t>
        <a:bodyPr/>
        <a:lstStyle/>
        <a:p>
          <a:endParaRPr lang="it-IT"/>
        </a:p>
      </dgm:t>
    </dgm:pt>
    <dgm:pt modelId="{D1497074-FD56-4A1D-B803-63AFF8396209}" type="pres">
      <dgm:prSet presAssocID="{4DBD1FB0-9DEC-4BF1-BDFE-C56F2660AE47}" presName="vert1" presStyleCnt="0"/>
      <dgm:spPr/>
    </dgm:pt>
  </dgm:ptLst>
  <dgm:cxnLst>
    <dgm:cxn modelId="{96C8A48C-C5AF-46B5-9B5D-144C81DD0D8F}" srcId="{43075584-0A09-4F92-A3EE-4594CC46FEDC}" destId="{4DBD1FB0-9DEC-4BF1-BDFE-C56F2660AE47}" srcOrd="0" destOrd="0" parTransId="{977500EF-1C8F-4ABA-A49C-70BA86BBB338}" sibTransId="{95AA54F3-60A7-4C69-9BA0-A132406858AF}"/>
    <dgm:cxn modelId="{0561D62F-A858-4A19-85D7-F90869AD2BF0}" type="presOf" srcId="{4DBD1FB0-9DEC-4BF1-BDFE-C56F2660AE47}" destId="{2E4F97BB-80AE-4B89-8B32-FB05A53BD028}" srcOrd="0" destOrd="0" presId="urn:microsoft.com/office/officeart/2008/layout/LinedList"/>
    <dgm:cxn modelId="{3EA72CA2-1063-4063-B9E6-9FEB387FD23A}" type="presOf" srcId="{43075584-0A09-4F92-A3EE-4594CC46FEDC}" destId="{D7EA6325-6413-4438-83E4-6701E2C57717}" srcOrd="0" destOrd="0" presId="urn:microsoft.com/office/officeart/2008/layout/LinedList"/>
    <dgm:cxn modelId="{C8411F6D-EC5D-41E9-A811-E5EB2E7924AE}" type="presParOf" srcId="{D7EA6325-6413-4438-83E4-6701E2C57717}" destId="{C53CC59A-ED65-4B0D-9470-3F18E593A142}" srcOrd="0" destOrd="0" presId="urn:microsoft.com/office/officeart/2008/layout/LinedList"/>
    <dgm:cxn modelId="{CDD9CB8E-CD80-41F5-BA0D-B5CE26EE4AFD}" type="presParOf" srcId="{D7EA6325-6413-4438-83E4-6701E2C57717}" destId="{CCBE2F35-B449-4304-A4B7-EB4A0CE90FAA}" srcOrd="1" destOrd="0" presId="urn:microsoft.com/office/officeart/2008/layout/LinedList"/>
    <dgm:cxn modelId="{2F3E4259-4BA4-4A86-9FA2-F8439E58F8C5}" type="presParOf" srcId="{CCBE2F35-B449-4304-A4B7-EB4A0CE90FAA}" destId="{2E4F97BB-80AE-4B89-8B32-FB05A53BD028}" srcOrd="0" destOrd="0" presId="urn:microsoft.com/office/officeart/2008/layout/LinedList"/>
    <dgm:cxn modelId="{6256232C-5BDD-4029-BB2E-9D09060B66C8}" type="presParOf" srcId="{CCBE2F35-B449-4304-A4B7-EB4A0CE90FAA}" destId="{D1497074-FD56-4A1D-B803-63AFF839620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0.xml><?xml version="1.0" encoding="utf-8"?>
<dgm:dataModel xmlns:dgm="http://schemas.openxmlformats.org/drawingml/2006/diagram" xmlns:a="http://schemas.openxmlformats.org/drawingml/2006/main">
  <dgm:ptLst>
    <dgm:pt modelId="{9301A9B4-E9E2-49B5-B10F-EDBFFD43BB2B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AE2B0945-42C3-4AA9-9586-225448C0E15C}">
      <dgm:prSet custT="1"/>
      <dgm:spPr/>
      <dgm:t>
        <a:bodyPr/>
        <a:lstStyle/>
        <a:p>
          <a:pPr algn="ctr" rtl="0"/>
          <a:r>
            <a:rPr lang="it-IT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ICERCA</a:t>
          </a:r>
          <a:r>
            <a:rPr lang="it-IT" sz="2000" b="1" baseline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UNIVERSITARIA E RIS 3 SICILIA</a:t>
          </a:r>
          <a:endParaRPr lang="it-IT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F2551BEC-A28F-4B9B-B991-327AA34E3F6C}" type="parTrans" cxnId="{B62FB3CA-E4AC-4DB4-A39D-EE207508D6E8}">
      <dgm:prSet/>
      <dgm:spPr/>
      <dgm:t>
        <a:bodyPr/>
        <a:lstStyle/>
        <a:p>
          <a:endParaRPr lang="it-IT"/>
        </a:p>
      </dgm:t>
    </dgm:pt>
    <dgm:pt modelId="{382B8539-D560-4C39-BEE1-B614A2A5CB3F}" type="sibTrans" cxnId="{B62FB3CA-E4AC-4DB4-A39D-EE207508D6E8}">
      <dgm:prSet/>
      <dgm:spPr/>
      <dgm:t>
        <a:bodyPr/>
        <a:lstStyle/>
        <a:p>
          <a:endParaRPr lang="it-IT"/>
        </a:p>
      </dgm:t>
    </dgm:pt>
    <dgm:pt modelId="{57F27615-4309-4D9B-BAE9-72BE68F7FC62}" type="pres">
      <dgm:prSet presAssocID="{9301A9B4-E9E2-49B5-B10F-EDBFFD43BB2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CC99B98-96C7-4492-87A5-8D8A2FEC99F0}" type="pres">
      <dgm:prSet presAssocID="{AE2B0945-42C3-4AA9-9586-225448C0E15C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4DC435FC-29F7-43DE-BA70-2A2BD757571F}" type="presOf" srcId="{9301A9B4-E9E2-49B5-B10F-EDBFFD43BB2B}" destId="{57F27615-4309-4D9B-BAE9-72BE68F7FC62}" srcOrd="0" destOrd="0" presId="urn:microsoft.com/office/officeart/2005/8/layout/vList2"/>
    <dgm:cxn modelId="{B62FB3CA-E4AC-4DB4-A39D-EE207508D6E8}" srcId="{9301A9B4-E9E2-49B5-B10F-EDBFFD43BB2B}" destId="{AE2B0945-42C3-4AA9-9586-225448C0E15C}" srcOrd="0" destOrd="0" parTransId="{F2551BEC-A28F-4B9B-B991-327AA34E3F6C}" sibTransId="{382B8539-D560-4C39-BEE1-B614A2A5CB3F}"/>
    <dgm:cxn modelId="{403E1894-B3D2-4245-9792-63D156369C06}" type="presOf" srcId="{AE2B0945-42C3-4AA9-9586-225448C0E15C}" destId="{9CC99B98-96C7-4492-87A5-8D8A2FEC99F0}" srcOrd="0" destOrd="0" presId="urn:microsoft.com/office/officeart/2005/8/layout/vList2"/>
    <dgm:cxn modelId="{F2D02E6C-BD9B-497E-B46B-C2AA5C169A4B}" type="presParOf" srcId="{57F27615-4309-4D9B-BAE9-72BE68F7FC62}" destId="{9CC99B98-96C7-4492-87A5-8D8A2FEC99F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1.xml><?xml version="1.0" encoding="utf-8"?>
<dgm:dataModel xmlns:dgm="http://schemas.openxmlformats.org/drawingml/2006/diagram" xmlns:a="http://schemas.openxmlformats.org/drawingml/2006/main">
  <dgm:ptLst>
    <dgm:pt modelId="{3DE74EF1-853E-4860-8614-9112E0601A00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25A4790-ACA5-4FFD-B655-06DAF9415895}">
      <dgm:prSet custT="1"/>
      <dgm:spPr/>
      <dgm:t>
        <a:bodyPr/>
        <a:lstStyle/>
        <a:p>
          <a:pPr algn="just" rtl="0"/>
          <a:r>
            <a:rPr lang="it-IT" sz="1600" dirty="0" smtClean="0"/>
            <a:t>Da una rappresentazione quali-quantitativa del sistema della </a:t>
          </a:r>
          <a:r>
            <a:rPr lang="it-IT" sz="1600" b="1" dirty="0" smtClean="0"/>
            <a:t>ricerca universitaria</a:t>
          </a:r>
          <a:r>
            <a:rPr lang="it-IT" sz="1600" dirty="0" smtClean="0"/>
            <a:t> negli atenei della regione Sicilia -</a:t>
          </a:r>
          <a:r>
            <a:rPr lang="it-IT" sz="1600" i="1" dirty="0" smtClean="0"/>
            <a:t>con lo scopo di rilevare le componenti del sistema universitario siciliano che denotano particolare funzionalità e dinamismo nell’ottica della strategia per la Smart Specialisation della Regione Siciliana nel periodo 2014-2020</a:t>
          </a:r>
          <a:r>
            <a:rPr lang="it-IT" sz="1600" dirty="0" smtClean="0"/>
            <a:t>- emerge:</a:t>
          </a:r>
          <a:endParaRPr lang="it-IT" sz="1600" dirty="0"/>
        </a:p>
      </dgm:t>
    </dgm:pt>
    <dgm:pt modelId="{BFEE3BB6-8307-41F6-95D4-EBAF86C820E7}" type="parTrans" cxnId="{BD3B6BF0-E9AC-4E02-9F5F-755243BFDE27}">
      <dgm:prSet/>
      <dgm:spPr/>
      <dgm:t>
        <a:bodyPr/>
        <a:lstStyle/>
        <a:p>
          <a:endParaRPr lang="it-IT"/>
        </a:p>
      </dgm:t>
    </dgm:pt>
    <dgm:pt modelId="{AF3C84D6-9565-4560-9787-459B64A07DF0}" type="sibTrans" cxnId="{BD3B6BF0-E9AC-4E02-9F5F-755243BFDE27}">
      <dgm:prSet/>
      <dgm:spPr/>
      <dgm:t>
        <a:bodyPr/>
        <a:lstStyle/>
        <a:p>
          <a:endParaRPr lang="it-IT"/>
        </a:p>
      </dgm:t>
    </dgm:pt>
    <dgm:pt modelId="{B13066BE-1A06-4243-B40F-84C9F4C261D8}" type="pres">
      <dgm:prSet presAssocID="{3DE74EF1-853E-4860-8614-9112E0601A00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D412F41E-97BE-4011-9E65-982A2A03D5D1}" type="pres">
      <dgm:prSet presAssocID="{225A4790-ACA5-4FFD-B655-06DAF9415895}" presName="thickLine" presStyleLbl="alignNode1" presStyleIdx="0" presStyleCnt="1"/>
      <dgm:spPr/>
    </dgm:pt>
    <dgm:pt modelId="{CA380DDB-6751-4073-9704-D3776E83E979}" type="pres">
      <dgm:prSet presAssocID="{225A4790-ACA5-4FFD-B655-06DAF9415895}" presName="horz1" presStyleCnt="0"/>
      <dgm:spPr/>
    </dgm:pt>
    <dgm:pt modelId="{47FF4BEF-DD00-46A3-A79A-7E8E9AFB90FB}" type="pres">
      <dgm:prSet presAssocID="{225A4790-ACA5-4FFD-B655-06DAF9415895}" presName="tx1" presStyleLbl="revTx" presStyleIdx="0" presStyleCnt="1"/>
      <dgm:spPr/>
      <dgm:t>
        <a:bodyPr/>
        <a:lstStyle/>
        <a:p>
          <a:endParaRPr lang="it-IT"/>
        </a:p>
      </dgm:t>
    </dgm:pt>
    <dgm:pt modelId="{53659730-3B57-482C-860A-5058638046D8}" type="pres">
      <dgm:prSet presAssocID="{225A4790-ACA5-4FFD-B655-06DAF9415895}" presName="vert1" presStyleCnt="0"/>
      <dgm:spPr/>
    </dgm:pt>
  </dgm:ptLst>
  <dgm:cxnLst>
    <dgm:cxn modelId="{BD3B6BF0-E9AC-4E02-9F5F-755243BFDE27}" srcId="{3DE74EF1-853E-4860-8614-9112E0601A00}" destId="{225A4790-ACA5-4FFD-B655-06DAF9415895}" srcOrd="0" destOrd="0" parTransId="{BFEE3BB6-8307-41F6-95D4-EBAF86C820E7}" sibTransId="{AF3C84D6-9565-4560-9787-459B64A07DF0}"/>
    <dgm:cxn modelId="{96CA7CD0-12CB-4E9E-B9F9-E453376C0016}" type="presOf" srcId="{225A4790-ACA5-4FFD-B655-06DAF9415895}" destId="{47FF4BEF-DD00-46A3-A79A-7E8E9AFB90FB}" srcOrd="0" destOrd="0" presId="urn:microsoft.com/office/officeart/2008/layout/LinedList"/>
    <dgm:cxn modelId="{9A470E3B-80E1-496B-839C-AD651D908EE6}" type="presOf" srcId="{3DE74EF1-853E-4860-8614-9112E0601A00}" destId="{B13066BE-1A06-4243-B40F-84C9F4C261D8}" srcOrd="0" destOrd="0" presId="urn:microsoft.com/office/officeart/2008/layout/LinedList"/>
    <dgm:cxn modelId="{2519E1E6-4B26-48B3-B870-7B10F5206754}" type="presParOf" srcId="{B13066BE-1A06-4243-B40F-84C9F4C261D8}" destId="{D412F41E-97BE-4011-9E65-982A2A03D5D1}" srcOrd="0" destOrd="0" presId="urn:microsoft.com/office/officeart/2008/layout/LinedList"/>
    <dgm:cxn modelId="{C0E1C35A-4058-40E2-B1AD-FE687194D5CA}" type="presParOf" srcId="{B13066BE-1A06-4243-B40F-84C9F4C261D8}" destId="{CA380DDB-6751-4073-9704-D3776E83E979}" srcOrd="1" destOrd="0" presId="urn:microsoft.com/office/officeart/2008/layout/LinedList"/>
    <dgm:cxn modelId="{014B7930-697B-4526-9D5E-9099AA013EFD}" type="presParOf" srcId="{CA380DDB-6751-4073-9704-D3776E83E979}" destId="{47FF4BEF-DD00-46A3-A79A-7E8E9AFB90FB}" srcOrd="0" destOrd="0" presId="urn:microsoft.com/office/officeart/2008/layout/LinedList"/>
    <dgm:cxn modelId="{B744B894-3BB3-4DE8-AFAB-08A87CA7ECEE}" type="presParOf" srcId="{CA380DDB-6751-4073-9704-D3776E83E979}" destId="{53659730-3B57-482C-860A-5058638046D8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82.xml><?xml version="1.0" encoding="utf-8"?>
<dgm:dataModel xmlns:dgm="http://schemas.openxmlformats.org/drawingml/2006/diagram" xmlns:a="http://schemas.openxmlformats.org/drawingml/2006/main">
  <dgm:ptLst>
    <dgm:pt modelId="{62DD894F-59EC-4342-8367-E085B5EA0904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9701EC7-3A22-4AE6-AC22-D7E613C96C70}">
      <dgm:prSet/>
      <dgm:spPr/>
      <dgm:t>
        <a:bodyPr/>
        <a:lstStyle/>
        <a:p>
          <a:pPr algn="just" rtl="0"/>
          <a:r>
            <a:rPr lang="it-IT" dirty="0" smtClean="0"/>
            <a:t>Nell’area delle </a:t>
          </a:r>
          <a:r>
            <a:rPr lang="it-IT" b="1" dirty="0" smtClean="0"/>
            <a:t>Scienze biologiche</a:t>
          </a:r>
          <a:r>
            <a:rPr lang="it-IT" dirty="0" smtClean="0"/>
            <a:t> si rilevano gruppi di ricerca attivi su tutti e tre i principali atenei in grado di conseguire risultati significativi in particolare nei progetti di ricerca nazionali e comunitari. </a:t>
          </a:r>
          <a:endParaRPr lang="it-IT" dirty="0"/>
        </a:p>
      </dgm:t>
    </dgm:pt>
    <dgm:pt modelId="{3296FDB3-7C79-4588-8E16-19366FEA8E74}" type="parTrans" cxnId="{4BCF299F-2943-4496-AEA1-2DD2D15D4274}">
      <dgm:prSet/>
      <dgm:spPr/>
      <dgm:t>
        <a:bodyPr/>
        <a:lstStyle/>
        <a:p>
          <a:endParaRPr lang="it-IT"/>
        </a:p>
      </dgm:t>
    </dgm:pt>
    <dgm:pt modelId="{9E4D6CD8-5CD8-4331-BA51-59E61A378300}" type="sibTrans" cxnId="{4BCF299F-2943-4496-AEA1-2DD2D15D4274}">
      <dgm:prSet/>
      <dgm:spPr/>
      <dgm:t>
        <a:bodyPr/>
        <a:lstStyle/>
        <a:p>
          <a:endParaRPr lang="it-IT"/>
        </a:p>
      </dgm:t>
    </dgm:pt>
    <dgm:pt modelId="{26288E28-7E8C-46FC-B6A3-31C119FE2B95}" type="pres">
      <dgm:prSet presAssocID="{62DD894F-59EC-4342-8367-E085B5EA0904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673145C6-8FE5-4F30-ABEB-858D8A999A6F}" type="pres">
      <dgm:prSet presAssocID="{D9701EC7-3A22-4AE6-AC22-D7E613C96C70}" presName="noChildren" presStyleCnt="0"/>
      <dgm:spPr/>
    </dgm:pt>
    <dgm:pt modelId="{24A3FFFE-CA2A-4310-9A8F-9D8D91E837F8}" type="pres">
      <dgm:prSet presAssocID="{D9701EC7-3A22-4AE6-AC22-D7E613C96C70}" presName="gap" presStyleCnt="0"/>
      <dgm:spPr/>
    </dgm:pt>
    <dgm:pt modelId="{A3B4206B-064E-485C-815E-8854B0D3654E}" type="pres">
      <dgm:prSet presAssocID="{D9701EC7-3A22-4AE6-AC22-D7E613C96C70}" presName="medCircle2" presStyleLbl="vennNode1" presStyleIdx="0" presStyleCnt="1"/>
      <dgm:spPr/>
    </dgm:pt>
    <dgm:pt modelId="{5CE3144F-92FD-41D5-AEF5-1F4C8262D549}" type="pres">
      <dgm:prSet presAssocID="{D9701EC7-3A22-4AE6-AC22-D7E613C96C70}" presName="txLvlOnly1" presStyleLbl="revTx" presStyleIdx="0" presStyleCnt="1" custScaleY="553374"/>
      <dgm:spPr/>
      <dgm:t>
        <a:bodyPr/>
        <a:lstStyle/>
        <a:p>
          <a:endParaRPr lang="it-IT"/>
        </a:p>
      </dgm:t>
    </dgm:pt>
  </dgm:ptLst>
  <dgm:cxnLst>
    <dgm:cxn modelId="{4BCF299F-2943-4496-AEA1-2DD2D15D4274}" srcId="{62DD894F-59EC-4342-8367-E085B5EA0904}" destId="{D9701EC7-3A22-4AE6-AC22-D7E613C96C70}" srcOrd="0" destOrd="0" parTransId="{3296FDB3-7C79-4588-8E16-19366FEA8E74}" sibTransId="{9E4D6CD8-5CD8-4331-BA51-59E61A378300}"/>
    <dgm:cxn modelId="{ACCBC5F4-7CE3-4DDA-AFC8-702056608617}" type="presOf" srcId="{62DD894F-59EC-4342-8367-E085B5EA0904}" destId="{26288E28-7E8C-46FC-B6A3-31C119FE2B95}" srcOrd="0" destOrd="0" presId="urn:microsoft.com/office/officeart/2008/layout/VerticalCircleList"/>
    <dgm:cxn modelId="{A57CA4A4-FCC8-4D31-B947-E79EC0C2009B}" type="presOf" srcId="{D9701EC7-3A22-4AE6-AC22-D7E613C96C70}" destId="{5CE3144F-92FD-41D5-AEF5-1F4C8262D549}" srcOrd="0" destOrd="0" presId="urn:microsoft.com/office/officeart/2008/layout/VerticalCircleList"/>
    <dgm:cxn modelId="{8D92FDE3-444B-4560-BBFB-4D479993252B}" type="presParOf" srcId="{26288E28-7E8C-46FC-B6A3-31C119FE2B95}" destId="{673145C6-8FE5-4F30-ABEB-858D8A999A6F}" srcOrd="0" destOrd="0" presId="urn:microsoft.com/office/officeart/2008/layout/VerticalCircleList"/>
    <dgm:cxn modelId="{667A4C5D-AF71-4103-862F-C5D3A566ED17}" type="presParOf" srcId="{673145C6-8FE5-4F30-ABEB-858D8A999A6F}" destId="{24A3FFFE-CA2A-4310-9A8F-9D8D91E837F8}" srcOrd="0" destOrd="0" presId="urn:microsoft.com/office/officeart/2008/layout/VerticalCircleList"/>
    <dgm:cxn modelId="{B2423205-F60C-4B43-B333-66A60B5F87E9}" type="presParOf" srcId="{673145C6-8FE5-4F30-ABEB-858D8A999A6F}" destId="{A3B4206B-064E-485C-815E-8854B0D3654E}" srcOrd="1" destOrd="0" presId="urn:microsoft.com/office/officeart/2008/layout/VerticalCircleList"/>
    <dgm:cxn modelId="{D3B8CB6E-892F-4672-B29C-F9B837712010}" type="presParOf" srcId="{673145C6-8FE5-4F30-ABEB-858D8A999A6F}" destId="{5CE3144F-92FD-41D5-AEF5-1F4C8262D549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83.xml><?xml version="1.0" encoding="utf-8"?>
<dgm:dataModel xmlns:dgm="http://schemas.openxmlformats.org/drawingml/2006/diagram" xmlns:a="http://schemas.openxmlformats.org/drawingml/2006/main">
  <dgm:ptLst>
    <dgm:pt modelId="{62DD894F-59EC-4342-8367-E085B5EA0904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9701EC7-3A22-4AE6-AC22-D7E613C96C70}">
      <dgm:prSet/>
      <dgm:spPr/>
      <dgm:t>
        <a:bodyPr/>
        <a:lstStyle/>
        <a:p>
          <a:pPr algn="just" rtl="0"/>
          <a:r>
            <a:rPr lang="it-IT" dirty="0" smtClean="0"/>
            <a:t>Nell’area delle </a:t>
          </a:r>
          <a:r>
            <a:rPr lang="it-IT" b="1" dirty="0" smtClean="0"/>
            <a:t>Scienze chimiche</a:t>
          </a:r>
          <a:r>
            <a:rPr lang="it-IT" dirty="0" smtClean="0"/>
            <a:t> l’intero sistema regionale universitario mostrare segnali di attivismo almeno equiparabili al contesto nazionale, con gruppi di ricerca dinamici in tutti e tre i principali atenei</a:t>
          </a:r>
          <a:endParaRPr lang="it-IT" dirty="0"/>
        </a:p>
      </dgm:t>
    </dgm:pt>
    <dgm:pt modelId="{3296FDB3-7C79-4588-8E16-19366FEA8E74}" type="parTrans" cxnId="{4BCF299F-2943-4496-AEA1-2DD2D15D4274}">
      <dgm:prSet/>
      <dgm:spPr/>
      <dgm:t>
        <a:bodyPr/>
        <a:lstStyle/>
        <a:p>
          <a:endParaRPr lang="it-IT"/>
        </a:p>
      </dgm:t>
    </dgm:pt>
    <dgm:pt modelId="{9E4D6CD8-5CD8-4331-BA51-59E61A378300}" type="sibTrans" cxnId="{4BCF299F-2943-4496-AEA1-2DD2D15D4274}">
      <dgm:prSet/>
      <dgm:spPr/>
      <dgm:t>
        <a:bodyPr/>
        <a:lstStyle/>
        <a:p>
          <a:endParaRPr lang="it-IT"/>
        </a:p>
      </dgm:t>
    </dgm:pt>
    <dgm:pt modelId="{26288E28-7E8C-46FC-B6A3-31C119FE2B95}" type="pres">
      <dgm:prSet presAssocID="{62DD894F-59EC-4342-8367-E085B5EA0904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673145C6-8FE5-4F30-ABEB-858D8A999A6F}" type="pres">
      <dgm:prSet presAssocID="{D9701EC7-3A22-4AE6-AC22-D7E613C96C70}" presName="noChildren" presStyleCnt="0"/>
      <dgm:spPr/>
    </dgm:pt>
    <dgm:pt modelId="{24A3FFFE-CA2A-4310-9A8F-9D8D91E837F8}" type="pres">
      <dgm:prSet presAssocID="{D9701EC7-3A22-4AE6-AC22-D7E613C96C70}" presName="gap" presStyleCnt="0"/>
      <dgm:spPr/>
    </dgm:pt>
    <dgm:pt modelId="{A3B4206B-064E-485C-815E-8854B0D3654E}" type="pres">
      <dgm:prSet presAssocID="{D9701EC7-3A22-4AE6-AC22-D7E613C96C70}" presName="medCircle2" presStyleLbl="vennNode1" presStyleIdx="0" presStyleCnt="1"/>
      <dgm:spPr/>
    </dgm:pt>
    <dgm:pt modelId="{5CE3144F-92FD-41D5-AEF5-1F4C8262D549}" type="pres">
      <dgm:prSet presAssocID="{D9701EC7-3A22-4AE6-AC22-D7E613C96C70}" presName="txLvlOnly1" presStyleLbl="revTx" presStyleIdx="0" presStyleCnt="1" custScaleY="508130" custLinFactY="-100000" custLinFactNeighborX="97520" custLinFactNeighborY="-153369"/>
      <dgm:spPr/>
      <dgm:t>
        <a:bodyPr/>
        <a:lstStyle/>
        <a:p>
          <a:endParaRPr lang="it-IT"/>
        </a:p>
      </dgm:t>
    </dgm:pt>
  </dgm:ptLst>
  <dgm:cxnLst>
    <dgm:cxn modelId="{4BCF299F-2943-4496-AEA1-2DD2D15D4274}" srcId="{62DD894F-59EC-4342-8367-E085B5EA0904}" destId="{D9701EC7-3A22-4AE6-AC22-D7E613C96C70}" srcOrd="0" destOrd="0" parTransId="{3296FDB3-7C79-4588-8E16-19366FEA8E74}" sibTransId="{9E4D6CD8-5CD8-4331-BA51-59E61A378300}"/>
    <dgm:cxn modelId="{1FB10323-D389-44F8-A4CA-669DA7D711B6}" type="presOf" srcId="{D9701EC7-3A22-4AE6-AC22-D7E613C96C70}" destId="{5CE3144F-92FD-41D5-AEF5-1F4C8262D549}" srcOrd="0" destOrd="0" presId="urn:microsoft.com/office/officeart/2008/layout/VerticalCircleList"/>
    <dgm:cxn modelId="{A7387F5D-E805-42B4-8F6C-7498E425B90A}" type="presOf" srcId="{62DD894F-59EC-4342-8367-E085B5EA0904}" destId="{26288E28-7E8C-46FC-B6A3-31C119FE2B95}" srcOrd="0" destOrd="0" presId="urn:microsoft.com/office/officeart/2008/layout/VerticalCircleList"/>
    <dgm:cxn modelId="{D2C311EA-E560-40FD-BF0C-647ABF7CA03E}" type="presParOf" srcId="{26288E28-7E8C-46FC-B6A3-31C119FE2B95}" destId="{673145C6-8FE5-4F30-ABEB-858D8A999A6F}" srcOrd="0" destOrd="0" presId="urn:microsoft.com/office/officeart/2008/layout/VerticalCircleList"/>
    <dgm:cxn modelId="{39B19E14-2119-4AFB-B81B-C7551E32D042}" type="presParOf" srcId="{673145C6-8FE5-4F30-ABEB-858D8A999A6F}" destId="{24A3FFFE-CA2A-4310-9A8F-9D8D91E837F8}" srcOrd="0" destOrd="0" presId="urn:microsoft.com/office/officeart/2008/layout/VerticalCircleList"/>
    <dgm:cxn modelId="{E0F2A073-D2AE-4FF8-A4E3-A274BC7AC083}" type="presParOf" srcId="{673145C6-8FE5-4F30-ABEB-858D8A999A6F}" destId="{A3B4206B-064E-485C-815E-8854B0D3654E}" srcOrd="1" destOrd="0" presId="urn:microsoft.com/office/officeart/2008/layout/VerticalCircleList"/>
    <dgm:cxn modelId="{17543BD3-0879-4746-9B40-51A548EE91A9}" type="presParOf" srcId="{673145C6-8FE5-4F30-ABEB-858D8A999A6F}" destId="{5CE3144F-92FD-41D5-AEF5-1F4C8262D549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84.xml><?xml version="1.0" encoding="utf-8"?>
<dgm:dataModel xmlns:dgm="http://schemas.openxmlformats.org/drawingml/2006/diagram" xmlns:a="http://schemas.openxmlformats.org/drawingml/2006/main">
  <dgm:ptLst>
    <dgm:pt modelId="{62DD894F-59EC-4342-8367-E085B5EA0904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9701EC7-3A22-4AE6-AC22-D7E613C96C70}">
      <dgm:prSet/>
      <dgm:spPr/>
      <dgm:t>
        <a:bodyPr/>
        <a:lstStyle/>
        <a:p>
          <a:pPr algn="just" rtl="0"/>
          <a:r>
            <a:rPr lang="it-IT" dirty="0" smtClean="0"/>
            <a:t>Nell’area delle </a:t>
          </a:r>
          <a:r>
            <a:rPr lang="it-IT" b="1" dirty="0" smtClean="0"/>
            <a:t>Scienze mediche</a:t>
          </a:r>
          <a:r>
            <a:rPr lang="it-IT" dirty="0" smtClean="0"/>
            <a:t> si distinguono gruppi di ricerca operanti in particolare negli atenei di Catania e Palermo per ciò che attiene settori clinici quali “Malattie dell'Apparato Respiratorio”, “Malattie Infettive” e “Urologia</a:t>
          </a:r>
          <a:endParaRPr lang="it-IT" dirty="0"/>
        </a:p>
      </dgm:t>
    </dgm:pt>
    <dgm:pt modelId="{3296FDB3-7C79-4588-8E16-19366FEA8E74}" type="parTrans" cxnId="{4BCF299F-2943-4496-AEA1-2DD2D15D4274}">
      <dgm:prSet/>
      <dgm:spPr/>
      <dgm:t>
        <a:bodyPr/>
        <a:lstStyle/>
        <a:p>
          <a:endParaRPr lang="it-IT"/>
        </a:p>
      </dgm:t>
    </dgm:pt>
    <dgm:pt modelId="{9E4D6CD8-5CD8-4331-BA51-59E61A378300}" type="sibTrans" cxnId="{4BCF299F-2943-4496-AEA1-2DD2D15D4274}">
      <dgm:prSet/>
      <dgm:spPr/>
      <dgm:t>
        <a:bodyPr/>
        <a:lstStyle/>
        <a:p>
          <a:endParaRPr lang="it-IT"/>
        </a:p>
      </dgm:t>
    </dgm:pt>
    <dgm:pt modelId="{26288E28-7E8C-46FC-B6A3-31C119FE2B95}" type="pres">
      <dgm:prSet presAssocID="{62DD894F-59EC-4342-8367-E085B5EA0904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673145C6-8FE5-4F30-ABEB-858D8A999A6F}" type="pres">
      <dgm:prSet presAssocID="{D9701EC7-3A22-4AE6-AC22-D7E613C96C70}" presName="noChildren" presStyleCnt="0"/>
      <dgm:spPr/>
    </dgm:pt>
    <dgm:pt modelId="{24A3FFFE-CA2A-4310-9A8F-9D8D91E837F8}" type="pres">
      <dgm:prSet presAssocID="{D9701EC7-3A22-4AE6-AC22-D7E613C96C70}" presName="gap" presStyleCnt="0"/>
      <dgm:spPr/>
    </dgm:pt>
    <dgm:pt modelId="{A3B4206B-064E-485C-815E-8854B0D3654E}" type="pres">
      <dgm:prSet presAssocID="{D9701EC7-3A22-4AE6-AC22-D7E613C96C70}" presName="medCircle2" presStyleLbl="vennNode1" presStyleIdx="0" presStyleCnt="1"/>
      <dgm:spPr/>
    </dgm:pt>
    <dgm:pt modelId="{5CE3144F-92FD-41D5-AEF5-1F4C8262D549}" type="pres">
      <dgm:prSet presAssocID="{D9701EC7-3A22-4AE6-AC22-D7E613C96C70}" presName="txLvlOnly1" presStyleLbl="revTx" presStyleIdx="0" presStyleCnt="1" custScaleY="411137" custLinFactY="-100000" custLinFactNeighborX="97520" custLinFactNeighborY="-153369"/>
      <dgm:spPr/>
      <dgm:t>
        <a:bodyPr/>
        <a:lstStyle/>
        <a:p>
          <a:endParaRPr lang="it-IT"/>
        </a:p>
      </dgm:t>
    </dgm:pt>
  </dgm:ptLst>
  <dgm:cxnLst>
    <dgm:cxn modelId="{4BCF299F-2943-4496-AEA1-2DD2D15D4274}" srcId="{62DD894F-59EC-4342-8367-E085B5EA0904}" destId="{D9701EC7-3A22-4AE6-AC22-D7E613C96C70}" srcOrd="0" destOrd="0" parTransId="{3296FDB3-7C79-4588-8E16-19366FEA8E74}" sibTransId="{9E4D6CD8-5CD8-4331-BA51-59E61A378300}"/>
    <dgm:cxn modelId="{D0EFDCF2-AD63-4741-91D3-8098722624C7}" type="presOf" srcId="{D9701EC7-3A22-4AE6-AC22-D7E613C96C70}" destId="{5CE3144F-92FD-41D5-AEF5-1F4C8262D549}" srcOrd="0" destOrd="0" presId="urn:microsoft.com/office/officeart/2008/layout/VerticalCircleList"/>
    <dgm:cxn modelId="{0C9A39F0-D644-4170-B1E2-C77BF1CD2E99}" type="presOf" srcId="{62DD894F-59EC-4342-8367-E085B5EA0904}" destId="{26288E28-7E8C-46FC-B6A3-31C119FE2B95}" srcOrd="0" destOrd="0" presId="urn:microsoft.com/office/officeart/2008/layout/VerticalCircleList"/>
    <dgm:cxn modelId="{40196B4A-47E0-4B63-A855-243830E3B0CA}" type="presParOf" srcId="{26288E28-7E8C-46FC-B6A3-31C119FE2B95}" destId="{673145C6-8FE5-4F30-ABEB-858D8A999A6F}" srcOrd="0" destOrd="0" presId="urn:microsoft.com/office/officeart/2008/layout/VerticalCircleList"/>
    <dgm:cxn modelId="{E7D0B32C-7BDB-4112-8FA0-351F5A3DC298}" type="presParOf" srcId="{673145C6-8FE5-4F30-ABEB-858D8A999A6F}" destId="{24A3FFFE-CA2A-4310-9A8F-9D8D91E837F8}" srcOrd="0" destOrd="0" presId="urn:microsoft.com/office/officeart/2008/layout/VerticalCircleList"/>
    <dgm:cxn modelId="{216A90D6-D0F1-474F-B3C1-B1C50F1C0BFD}" type="presParOf" srcId="{673145C6-8FE5-4F30-ABEB-858D8A999A6F}" destId="{A3B4206B-064E-485C-815E-8854B0D3654E}" srcOrd="1" destOrd="0" presId="urn:microsoft.com/office/officeart/2008/layout/VerticalCircleList"/>
    <dgm:cxn modelId="{D22C7306-F3C2-48B1-B547-2D27223B0C67}" type="presParOf" srcId="{673145C6-8FE5-4F30-ABEB-858D8A999A6F}" destId="{5CE3144F-92FD-41D5-AEF5-1F4C8262D549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85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 custT="1"/>
      <dgm:spPr/>
      <dgm:t>
        <a:bodyPr/>
        <a:lstStyle/>
        <a:p>
          <a:pPr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08170065-4B15-4D57-9612-C94B49B22691}" type="presOf" srcId="{E4C7AF03-E2BD-4E48-8DAB-C1261D3D7EA9}" destId="{21D380AD-5D38-4835-9FB5-615E5454C686}" srcOrd="1" destOrd="0" presId="urn:microsoft.com/office/officeart/2005/8/layout/list1"/>
    <dgm:cxn modelId="{0AC28DB8-A4F3-4396-B6F7-E84AC62E6661}" type="presOf" srcId="{E4C7AF03-E2BD-4E48-8DAB-C1261D3D7EA9}" destId="{03DB856F-DE91-4CA0-AD05-B356DE21BFDC}" srcOrd="0" destOrd="0" presId="urn:microsoft.com/office/officeart/2005/8/layout/list1"/>
    <dgm:cxn modelId="{8E149F2A-239B-467E-92D2-8663465DE7E9}" type="presOf" srcId="{188FD03C-7D6A-4D29-8FCB-9C1383057E36}" destId="{C08F212E-D010-4B1B-884C-243E8BB88BD2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7F29F867-2F55-4CFA-9ECC-2F03C038518B}" type="presParOf" srcId="{C08F212E-D010-4B1B-884C-243E8BB88BD2}" destId="{A042C0D5-6636-40E8-83EA-703099528EDB}" srcOrd="0" destOrd="0" presId="urn:microsoft.com/office/officeart/2005/8/layout/list1"/>
    <dgm:cxn modelId="{BEC87590-286A-4590-A1B4-EAD4A5826D8B}" type="presParOf" srcId="{A042C0D5-6636-40E8-83EA-703099528EDB}" destId="{03DB856F-DE91-4CA0-AD05-B356DE21BFDC}" srcOrd="0" destOrd="0" presId="urn:microsoft.com/office/officeart/2005/8/layout/list1"/>
    <dgm:cxn modelId="{04799CF7-0FCB-4BF0-9639-FF20D7A2CA11}" type="presParOf" srcId="{A042C0D5-6636-40E8-83EA-703099528EDB}" destId="{21D380AD-5D38-4835-9FB5-615E5454C686}" srcOrd="1" destOrd="0" presId="urn:microsoft.com/office/officeart/2005/8/layout/list1"/>
    <dgm:cxn modelId="{BABE6EC8-2D86-4097-9C1F-050CD0E61710}" type="presParOf" srcId="{C08F212E-D010-4B1B-884C-243E8BB88BD2}" destId="{E77B3B8A-36B6-4AF7-9D59-DF889FA8E07C}" srcOrd="1" destOrd="0" presId="urn:microsoft.com/office/officeart/2005/8/layout/list1"/>
    <dgm:cxn modelId="{BD338577-D1D1-43A5-8380-B8A3533EE50C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6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Competenze produttive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21924E0F-DA00-44A3-BBD0-B1DB962B8AE9}" type="presOf" srcId="{72D59079-C521-4525-81A4-701D931A8233}" destId="{9CE9EFE3-4E69-404A-8A99-59388A9E3922}" srcOrd="0" destOrd="0" presId="urn:microsoft.com/office/officeart/2005/8/layout/chevronAccent+Icon"/>
    <dgm:cxn modelId="{F0B2D6F5-F893-434B-8781-7B030039A62E}" type="presOf" srcId="{9AF403A6-2C5C-4F1B-B787-47496D3DBC71}" destId="{639FA514-32E4-4E31-8688-3C040A3F30E9}" srcOrd="0" destOrd="0" presId="urn:microsoft.com/office/officeart/2005/8/layout/chevronAccent+Icon"/>
    <dgm:cxn modelId="{22CBA12D-02F6-4F28-BAE9-DFF570D67E91}" type="presParOf" srcId="{639FA514-32E4-4E31-8688-3C040A3F30E9}" destId="{F100BA9B-D4E3-421F-B5D8-42E4C50A115C}" srcOrd="0" destOrd="0" presId="urn:microsoft.com/office/officeart/2005/8/layout/chevronAccent+Icon"/>
    <dgm:cxn modelId="{DA2CF4AA-1656-4582-84FA-00AC2C550299}" type="presParOf" srcId="{F100BA9B-D4E3-421F-B5D8-42E4C50A115C}" destId="{51AD98A5-0898-43D1-8FB1-9AA58104A73C}" srcOrd="0" destOrd="0" presId="urn:microsoft.com/office/officeart/2005/8/layout/chevronAccent+Icon"/>
    <dgm:cxn modelId="{A543E037-4509-42B1-BBDB-0637C2A49ECC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7.xml><?xml version="1.0" encoding="utf-8"?>
<dgm:dataModel xmlns:dgm="http://schemas.openxmlformats.org/drawingml/2006/diagram" xmlns:a="http://schemas.openxmlformats.org/drawingml/2006/main">
  <dgm:ptLst>
    <dgm:pt modelId="{119DD503-C39F-45AF-BEA6-A27EED6D314A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16DA83EA-FDF1-435F-BC81-234A54F5706A}">
      <dgm:prSet/>
      <dgm:spPr/>
      <dgm:t>
        <a:bodyPr/>
        <a:lstStyle/>
        <a:p>
          <a:pPr algn="just" rtl="0"/>
          <a:r>
            <a:rPr lang="it-IT" dirty="0" smtClean="0"/>
            <a:t>La filiera biomedicale siciliana ha negli ultimi anni ottenuto risultati apprezzabili, ed è per questo che ha tutte le potenzialità per accrescere il settore e diventare un polo di attrazione di investimenti nella ricerca e nella produzione</a:t>
          </a:r>
          <a:endParaRPr lang="it-IT" dirty="0"/>
        </a:p>
      </dgm:t>
    </dgm:pt>
    <dgm:pt modelId="{DF20CB4B-2744-4481-ADB5-3F367EEE57A5}" type="parTrans" cxnId="{C0B8A2B9-8B70-4334-BD3C-C88B40B91C41}">
      <dgm:prSet/>
      <dgm:spPr/>
      <dgm:t>
        <a:bodyPr/>
        <a:lstStyle/>
        <a:p>
          <a:endParaRPr lang="it-IT"/>
        </a:p>
      </dgm:t>
    </dgm:pt>
    <dgm:pt modelId="{59647A5F-8DB4-4B7D-BB48-0AEA9121F083}" type="sibTrans" cxnId="{C0B8A2B9-8B70-4334-BD3C-C88B40B91C41}">
      <dgm:prSet/>
      <dgm:spPr/>
      <dgm:t>
        <a:bodyPr/>
        <a:lstStyle/>
        <a:p>
          <a:endParaRPr lang="it-IT"/>
        </a:p>
      </dgm:t>
    </dgm:pt>
    <dgm:pt modelId="{85972611-AD15-45F1-9C23-BCDF00E296C9}">
      <dgm:prSet/>
      <dgm:spPr/>
      <dgm:t>
        <a:bodyPr/>
        <a:lstStyle/>
        <a:p>
          <a:pPr algn="just" rtl="0"/>
          <a:r>
            <a:rPr lang="it-IT" dirty="0" smtClean="0"/>
            <a:t>Per ottenere questo risultato ha importanza fondamentale che le imprese e le Istituzioni continuino ad investire, aumentando le risorse destinate alla ricerca e dando seguito a progetti, che rendano la regione Sicilia un centro di conoscenza e innovazione costantemente all'avanguardia.</a:t>
          </a:r>
          <a:endParaRPr lang="it-IT" dirty="0"/>
        </a:p>
      </dgm:t>
    </dgm:pt>
    <dgm:pt modelId="{BBD79FD7-5019-42DA-ADFF-9CBDC66AFDAD}" type="parTrans" cxnId="{519EA868-49CE-493C-9A02-D514DD43D0A0}">
      <dgm:prSet/>
      <dgm:spPr/>
      <dgm:t>
        <a:bodyPr/>
        <a:lstStyle/>
        <a:p>
          <a:endParaRPr lang="it-IT"/>
        </a:p>
      </dgm:t>
    </dgm:pt>
    <dgm:pt modelId="{C3CF8D09-EAC8-4AB0-9D2D-8D4F7218A01B}" type="sibTrans" cxnId="{519EA868-49CE-493C-9A02-D514DD43D0A0}">
      <dgm:prSet/>
      <dgm:spPr/>
      <dgm:t>
        <a:bodyPr/>
        <a:lstStyle/>
        <a:p>
          <a:endParaRPr lang="it-IT"/>
        </a:p>
      </dgm:t>
    </dgm:pt>
    <dgm:pt modelId="{16E1F144-4314-4C1C-A054-26CD3CDEFE12}">
      <dgm:prSet/>
      <dgm:spPr/>
      <dgm:t>
        <a:bodyPr/>
        <a:lstStyle/>
        <a:p>
          <a:pPr algn="just" rtl="0"/>
          <a:r>
            <a:rPr lang="it-IT" dirty="0" smtClean="0"/>
            <a:t>Al fine di garantire il coordinamento delle aggregazioni esistenti in una prospettiva più ampia, e di dare nuovo impulso ai progetti Life </a:t>
          </a:r>
          <a:r>
            <a:rPr lang="it-IT" dirty="0" err="1" smtClean="0"/>
            <a:t>Sciences</a:t>
          </a:r>
          <a:r>
            <a:rPr lang="it-IT" dirty="0" smtClean="0"/>
            <a:t>, la Regione sta attualmente finalizzando la costituzione del Distretto </a:t>
          </a:r>
          <a:r>
            <a:rPr lang="it-IT" dirty="0" err="1" smtClean="0"/>
            <a:t>BioMedico</a:t>
          </a:r>
          <a:r>
            <a:rPr lang="it-IT" dirty="0" smtClean="0"/>
            <a:t> della Sicilia.</a:t>
          </a:r>
          <a:endParaRPr lang="it-IT" dirty="0"/>
        </a:p>
      </dgm:t>
    </dgm:pt>
    <dgm:pt modelId="{872EE143-99F5-43A0-BAE4-DBF6DF460C68}" type="parTrans" cxnId="{D2505B12-8633-4EB6-9B9A-E516BFFCB9E8}">
      <dgm:prSet/>
      <dgm:spPr/>
      <dgm:t>
        <a:bodyPr/>
        <a:lstStyle/>
        <a:p>
          <a:endParaRPr lang="it-IT"/>
        </a:p>
      </dgm:t>
    </dgm:pt>
    <dgm:pt modelId="{66898442-4399-4338-999B-E66CFADEB344}" type="sibTrans" cxnId="{D2505B12-8633-4EB6-9B9A-E516BFFCB9E8}">
      <dgm:prSet/>
      <dgm:spPr/>
      <dgm:t>
        <a:bodyPr/>
        <a:lstStyle/>
        <a:p>
          <a:endParaRPr lang="it-IT"/>
        </a:p>
      </dgm:t>
    </dgm:pt>
    <dgm:pt modelId="{3E0B8CFE-F61A-430C-BB35-0FFB7DFFFCE3}">
      <dgm:prSet/>
      <dgm:spPr/>
      <dgm:t>
        <a:bodyPr/>
        <a:lstStyle/>
        <a:p>
          <a:pPr algn="just" rtl="0"/>
          <a:r>
            <a:rPr lang="it-IT" dirty="0" smtClean="0"/>
            <a:t> Per effettuare quel passo in più che la renda competitiva a livello nazionale e internazionale è indispensabile che si inneschi un circolo virtuoso si basi su esperienze di stretta collaborazione tra il mondo della ricerca e la realtà produttiva.</a:t>
          </a:r>
          <a:endParaRPr lang="it-IT" dirty="0"/>
        </a:p>
      </dgm:t>
    </dgm:pt>
    <dgm:pt modelId="{C393C158-952C-4E79-879E-48BBE1A675D1}" type="parTrans" cxnId="{DC0E2095-36FD-4B01-95B1-ABB37F01C1BB}">
      <dgm:prSet/>
      <dgm:spPr/>
      <dgm:t>
        <a:bodyPr/>
        <a:lstStyle/>
        <a:p>
          <a:endParaRPr lang="it-IT"/>
        </a:p>
      </dgm:t>
    </dgm:pt>
    <dgm:pt modelId="{F86DA1C0-64AD-4990-8E30-96611C3B477E}" type="sibTrans" cxnId="{DC0E2095-36FD-4B01-95B1-ABB37F01C1BB}">
      <dgm:prSet/>
      <dgm:spPr/>
      <dgm:t>
        <a:bodyPr/>
        <a:lstStyle/>
        <a:p>
          <a:endParaRPr lang="it-IT"/>
        </a:p>
      </dgm:t>
    </dgm:pt>
    <dgm:pt modelId="{4D1D6CC9-D14A-4E36-AC3F-0BB6B0F48332}" type="pres">
      <dgm:prSet presAssocID="{119DD503-C39F-45AF-BEA6-A27EED6D314A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76844516-852C-4440-AB7D-C3FE0D70B344}" type="pres">
      <dgm:prSet presAssocID="{16DA83EA-FDF1-435F-BC81-234A54F5706A}" presName="thickLine" presStyleLbl="alignNode1" presStyleIdx="0" presStyleCnt="4"/>
      <dgm:spPr/>
    </dgm:pt>
    <dgm:pt modelId="{51C330AC-E962-4843-9640-69CB55676D8A}" type="pres">
      <dgm:prSet presAssocID="{16DA83EA-FDF1-435F-BC81-234A54F5706A}" presName="horz1" presStyleCnt="0"/>
      <dgm:spPr/>
    </dgm:pt>
    <dgm:pt modelId="{D7ED7C96-F7A1-4081-95CA-4752798B5F9B}" type="pres">
      <dgm:prSet presAssocID="{16DA83EA-FDF1-435F-BC81-234A54F5706A}" presName="tx1" presStyleLbl="revTx" presStyleIdx="0" presStyleCnt="4" custScaleY="58140"/>
      <dgm:spPr/>
      <dgm:t>
        <a:bodyPr/>
        <a:lstStyle/>
        <a:p>
          <a:endParaRPr lang="it-IT"/>
        </a:p>
      </dgm:t>
    </dgm:pt>
    <dgm:pt modelId="{79497190-CD26-41DF-AA72-A28A6E719FC5}" type="pres">
      <dgm:prSet presAssocID="{16DA83EA-FDF1-435F-BC81-234A54F5706A}" presName="vert1" presStyleCnt="0"/>
      <dgm:spPr/>
    </dgm:pt>
    <dgm:pt modelId="{A62B62E1-E1CF-4B90-9226-B0CC63A8A049}" type="pres">
      <dgm:prSet presAssocID="{3E0B8CFE-F61A-430C-BB35-0FFB7DFFFCE3}" presName="thickLine" presStyleLbl="alignNode1" presStyleIdx="1" presStyleCnt="4"/>
      <dgm:spPr/>
    </dgm:pt>
    <dgm:pt modelId="{964C9655-E955-4DDA-A0FB-B69D439D9E85}" type="pres">
      <dgm:prSet presAssocID="{3E0B8CFE-F61A-430C-BB35-0FFB7DFFFCE3}" presName="horz1" presStyleCnt="0"/>
      <dgm:spPr/>
    </dgm:pt>
    <dgm:pt modelId="{4E22FAEE-2F20-4878-A046-7743E24DEBDD}" type="pres">
      <dgm:prSet presAssocID="{3E0B8CFE-F61A-430C-BB35-0FFB7DFFFCE3}" presName="tx1" presStyleLbl="revTx" presStyleIdx="1" presStyleCnt="4" custScaleY="69337"/>
      <dgm:spPr/>
      <dgm:t>
        <a:bodyPr/>
        <a:lstStyle/>
        <a:p>
          <a:endParaRPr lang="it-IT"/>
        </a:p>
      </dgm:t>
    </dgm:pt>
    <dgm:pt modelId="{885D4476-0BAB-42C0-A6C3-DE699B0A3E21}" type="pres">
      <dgm:prSet presAssocID="{3E0B8CFE-F61A-430C-BB35-0FFB7DFFFCE3}" presName="vert1" presStyleCnt="0"/>
      <dgm:spPr/>
    </dgm:pt>
    <dgm:pt modelId="{DD87D155-B843-4155-9FCF-03309B302992}" type="pres">
      <dgm:prSet presAssocID="{85972611-AD15-45F1-9C23-BCDF00E296C9}" presName="thickLine" presStyleLbl="alignNode1" presStyleIdx="2" presStyleCnt="4"/>
      <dgm:spPr/>
    </dgm:pt>
    <dgm:pt modelId="{A38475BF-47FE-4F33-9384-43D4A81119FB}" type="pres">
      <dgm:prSet presAssocID="{85972611-AD15-45F1-9C23-BCDF00E296C9}" presName="horz1" presStyleCnt="0"/>
      <dgm:spPr/>
    </dgm:pt>
    <dgm:pt modelId="{40495A62-FD6C-435D-BB67-5DEEA4708957}" type="pres">
      <dgm:prSet presAssocID="{85972611-AD15-45F1-9C23-BCDF00E296C9}" presName="tx1" presStyleLbl="revTx" presStyleIdx="2" presStyleCnt="4" custScaleY="77073"/>
      <dgm:spPr/>
      <dgm:t>
        <a:bodyPr/>
        <a:lstStyle/>
        <a:p>
          <a:endParaRPr lang="it-IT"/>
        </a:p>
      </dgm:t>
    </dgm:pt>
    <dgm:pt modelId="{AC049F51-D6E5-4C7E-8EA6-E6F12213EA34}" type="pres">
      <dgm:prSet presAssocID="{85972611-AD15-45F1-9C23-BCDF00E296C9}" presName="vert1" presStyleCnt="0"/>
      <dgm:spPr/>
    </dgm:pt>
    <dgm:pt modelId="{33638EC5-74C3-4321-93E5-7EBC23B2174A}" type="pres">
      <dgm:prSet presAssocID="{16E1F144-4314-4C1C-A054-26CD3CDEFE12}" presName="thickLine" presStyleLbl="alignNode1" presStyleIdx="3" presStyleCnt="4"/>
      <dgm:spPr/>
    </dgm:pt>
    <dgm:pt modelId="{79F4AF2D-A297-4BD5-9294-9AF68584070C}" type="pres">
      <dgm:prSet presAssocID="{16E1F144-4314-4C1C-A054-26CD3CDEFE12}" presName="horz1" presStyleCnt="0"/>
      <dgm:spPr/>
    </dgm:pt>
    <dgm:pt modelId="{4839141F-74D5-4E0C-8807-C997756840FC}" type="pres">
      <dgm:prSet presAssocID="{16E1F144-4314-4C1C-A054-26CD3CDEFE12}" presName="tx1" presStyleLbl="revTx" presStyleIdx="3" presStyleCnt="4"/>
      <dgm:spPr/>
      <dgm:t>
        <a:bodyPr/>
        <a:lstStyle/>
        <a:p>
          <a:endParaRPr lang="it-IT"/>
        </a:p>
      </dgm:t>
    </dgm:pt>
    <dgm:pt modelId="{0DD7BD82-0A4F-4AFF-9A31-889C2448BB8B}" type="pres">
      <dgm:prSet presAssocID="{16E1F144-4314-4C1C-A054-26CD3CDEFE12}" presName="vert1" presStyleCnt="0"/>
      <dgm:spPr/>
    </dgm:pt>
  </dgm:ptLst>
  <dgm:cxnLst>
    <dgm:cxn modelId="{4694DAC4-424F-4335-B0B3-34DE08A6E397}" type="presOf" srcId="{119DD503-C39F-45AF-BEA6-A27EED6D314A}" destId="{4D1D6CC9-D14A-4E36-AC3F-0BB6B0F48332}" srcOrd="0" destOrd="0" presId="urn:microsoft.com/office/officeart/2008/layout/LinedList"/>
    <dgm:cxn modelId="{C0B8A2B9-8B70-4334-BD3C-C88B40B91C41}" srcId="{119DD503-C39F-45AF-BEA6-A27EED6D314A}" destId="{16DA83EA-FDF1-435F-BC81-234A54F5706A}" srcOrd="0" destOrd="0" parTransId="{DF20CB4B-2744-4481-ADB5-3F367EEE57A5}" sibTransId="{59647A5F-8DB4-4B7D-BB48-0AEA9121F083}"/>
    <dgm:cxn modelId="{519EA868-49CE-493C-9A02-D514DD43D0A0}" srcId="{119DD503-C39F-45AF-BEA6-A27EED6D314A}" destId="{85972611-AD15-45F1-9C23-BCDF00E296C9}" srcOrd="2" destOrd="0" parTransId="{BBD79FD7-5019-42DA-ADFF-9CBDC66AFDAD}" sibTransId="{C3CF8D09-EAC8-4AB0-9D2D-8D4F7218A01B}"/>
    <dgm:cxn modelId="{11A7B235-FD3F-4E30-A343-D7743235B144}" type="presOf" srcId="{16DA83EA-FDF1-435F-BC81-234A54F5706A}" destId="{D7ED7C96-F7A1-4081-95CA-4752798B5F9B}" srcOrd="0" destOrd="0" presId="urn:microsoft.com/office/officeart/2008/layout/LinedList"/>
    <dgm:cxn modelId="{DC0E2095-36FD-4B01-95B1-ABB37F01C1BB}" srcId="{119DD503-C39F-45AF-BEA6-A27EED6D314A}" destId="{3E0B8CFE-F61A-430C-BB35-0FFB7DFFFCE3}" srcOrd="1" destOrd="0" parTransId="{C393C158-952C-4E79-879E-48BBE1A675D1}" sibTransId="{F86DA1C0-64AD-4990-8E30-96611C3B477E}"/>
    <dgm:cxn modelId="{32A2E207-D217-4D48-84CF-F2EEEF3C2340}" type="presOf" srcId="{16E1F144-4314-4C1C-A054-26CD3CDEFE12}" destId="{4839141F-74D5-4E0C-8807-C997756840FC}" srcOrd="0" destOrd="0" presId="urn:microsoft.com/office/officeart/2008/layout/LinedList"/>
    <dgm:cxn modelId="{D2505B12-8633-4EB6-9B9A-E516BFFCB9E8}" srcId="{119DD503-C39F-45AF-BEA6-A27EED6D314A}" destId="{16E1F144-4314-4C1C-A054-26CD3CDEFE12}" srcOrd="3" destOrd="0" parTransId="{872EE143-99F5-43A0-BAE4-DBF6DF460C68}" sibTransId="{66898442-4399-4338-999B-E66CFADEB344}"/>
    <dgm:cxn modelId="{8905A1BA-09A0-4847-A585-D5208FB45B10}" type="presOf" srcId="{85972611-AD15-45F1-9C23-BCDF00E296C9}" destId="{40495A62-FD6C-435D-BB67-5DEEA4708957}" srcOrd="0" destOrd="0" presId="urn:microsoft.com/office/officeart/2008/layout/LinedList"/>
    <dgm:cxn modelId="{7CDB8F37-C4D2-421C-A4AD-4FB77BC7BB0F}" type="presOf" srcId="{3E0B8CFE-F61A-430C-BB35-0FFB7DFFFCE3}" destId="{4E22FAEE-2F20-4878-A046-7743E24DEBDD}" srcOrd="0" destOrd="0" presId="urn:microsoft.com/office/officeart/2008/layout/LinedList"/>
    <dgm:cxn modelId="{7B507B3D-EED3-47AA-AE89-8A1F26DBDE41}" type="presParOf" srcId="{4D1D6CC9-D14A-4E36-AC3F-0BB6B0F48332}" destId="{76844516-852C-4440-AB7D-C3FE0D70B344}" srcOrd="0" destOrd="0" presId="urn:microsoft.com/office/officeart/2008/layout/LinedList"/>
    <dgm:cxn modelId="{07F2E532-9245-4979-9959-C95A1C1721CA}" type="presParOf" srcId="{4D1D6CC9-D14A-4E36-AC3F-0BB6B0F48332}" destId="{51C330AC-E962-4843-9640-69CB55676D8A}" srcOrd="1" destOrd="0" presId="urn:microsoft.com/office/officeart/2008/layout/LinedList"/>
    <dgm:cxn modelId="{C5A1B357-6E49-4314-A415-F38C30E0FB0F}" type="presParOf" srcId="{51C330AC-E962-4843-9640-69CB55676D8A}" destId="{D7ED7C96-F7A1-4081-95CA-4752798B5F9B}" srcOrd="0" destOrd="0" presId="urn:microsoft.com/office/officeart/2008/layout/LinedList"/>
    <dgm:cxn modelId="{E10E456E-3728-4E6A-B60F-BCFF602DBC41}" type="presParOf" srcId="{51C330AC-E962-4843-9640-69CB55676D8A}" destId="{79497190-CD26-41DF-AA72-A28A6E719FC5}" srcOrd="1" destOrd="0" presId="urn:microsoft.com/office/officeart/2008/layout/LinedList"/>
    <dgm:cxn modelId="{292B0D84-CEFA-4031-AA53-31C003825969}" type="presParOf" srcId="{4D1D6CC9-D14A-4E36-AC3F-0BB6B0F48332}" destId="{A62B62E1-E1CF-4B90-9226-B0CC63A8A049}" srcOrd="2" destOrd="0" presId="urn:microsoft.com/office/officeart/2008/layout/LinedList"/>
    <dgm:cxn modelId="{A9904CF4-431A-40EF-AA3F-480C373B1046}" type="presParOf" srcId="{4D1D6CC9-D14A-4E36-AC3F-0BB6B0F48332}" destId="{964C9655-E955-4DDA-A0FB-B69D439D9E85}" srcOrd="3" destOrd="0" presId="urn:microsoft.com/office/officeart/2008/layout/LinedList"/>
    <dgm:cxn modelId="{DECC48C1-4779-476D-8CD7-6E4A08647E3B}" type="presParOf" srcId="{964C9655-E955-4DDA-A0FB-B69D439D9E85}" destId="{4E22FAEE-2F20-4878-A046-7743E24DEBDD}" srcOrd="0" destOrd="0" presId="urn:microsoft.com/office/officeart/2008/layout/LinedList"/>
    <dgm:cxn modelId="{D68CBE62-882B-4D44-AD48-136582BAB33C}" type="presParOf" srcId="{964C9655-E955-4DDA-A0FB-B69D439D9E85}" destId="{885D4476-0BAB-42C0-A6C3-DE699B0A3E21}" srcOrd="1" destOrd="0" presId="urn:microsoft.com/office/officeart/2008/layout/LinedList"/>
    <dgm:cxn modelId="{04DC2896-7269-45D2-9AC1-97E91E02A661}" type="presParOf" srcId="{4D1D6CC9-D14A-4E36-AC3F-0BB6B0F48332}" destId="{DD87D155-B843-4155-9FCF-03309B302992}" srcOrd="4" destOrd="0" presId="urn:microsoft.com/office/officeart/2008/layout/LinedList"/>
    <dgm:cxn modelId="{48B48309-A1EF-4996-9044-00C7F5DD5585}" type="presParOf" srcId="{4D1D6CC9-D14A-4E36-AC3F-0BB6B0F48332}" destId="{A38475BF-47FE-4F33-9384-43D4A81119FB}" srcOrd="5" destOrd="0" presId="urn:microsoft.com/office/officeart/2008/layout/LinedList"/>
    <dgm:cxn modelId="{63FDBEAB-2547-44B9-9A92-F6066E68EBB3}" type="presParOf" srcId="{A38475BF-47FE-4F33-9384-43D4A81119FB}" destId="{40495A62-FD6C-435D-BB67-5DEEA4708957}" srcOrd="0" destOrd="0" presId="urn:microsoft.com/office/officeart/2008/layout/LinedList"/>
    <dgm:cxn modelId="{DD3FCAD7-7EC7-46E9-917D-9B0FBA39ED28}" type="presParOf" srcId="{A38475BF-47FE-4F33-9384-43D4A81119FB}" destId="{AC049F51-D6E5-4C7E-8EA6-E6F12213EA34}" srcOrd="1" destOrd="0" presId="urn:microsoft.com/office/officeart/2008/layout/LinedList"/>
    <dgm:cxn modelId="{85934C19-4EBE-4F17-A612-34DEF383A53F}" type="presParOf" srcId="{4D1D6CC9-D14A-4E36-AC3F-0BB6B0F48332}" destId="{33638EC5-74C3-4321-93E5-7EBC23B2174A}" srcOrd="6" destOrd="0" presId="urn:microsoft.com/office/officeart/2008/layout/LinedList"/>
    <dgm:cxn modelId="{C4DD863D-84FC-4AF4-BB8A-6241A0824023}" type="presParOf" srcId="{4D1D6CC9-D14A-4E36-AC3F-0BB6B0F48332}" destId="{79F4AF2D-A297-4BD5-9294-9AF68584070C}" srcOrd="7" destOrd="0" presId="urn:microsoft.com/office/officeart/2008/layout/LinedList"/>
    <dgm:cxn modelId="{3012C00F-32B2-4E27-BBFF-D0FD4407D04F}" type="presParOf" srcId="{79F4AF2D-A297-4BD5-9294-9AF68584070C}" destId="{4839141F-74D5-4E0C-8807-C997756840FC}" srcOrd="0" destOrd="0" presId="urn:microsoft.com/office/officeart/2008/layout/LinedList"/>
    <dgm:cxn modelId="{F6BEB67C-A66F-46F2-95B0-E6A0AD17B11B}" type="presParOf" srcId="{79F4AF2D-A297-4BD5-9294-9AF68584070C}" destId="{0DD7BD82-0A4F-4AFF-9A31-889C2448BB8B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8.xml><?xml version="1.0" encoding="utf-8"?>
<dgm:dataModel xmlns:dgm="http://schemas.openxmlformats.org/drawingml/2006/diagram" xmlns:a="http://schemas.openxmlformats.org/drawingml/2006/main">
  <dgm:ptLst>
    <dgm:pt modelId="{E0ED3B49-5A11-4D59-AE32-316830E8272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1B9E105-4120-4931-9DED-1780A135430E}">
      <dgm:prSet phldrT="[Testo]" custT="1"/>
      <dgm:spPr/>
      <dgm:t>
        <a:bodyPr/>
        <a:lstStyle/>
        <a:p>
          <a:r>
            <a:rPr lang="it-IT" sz="2000" dirty="0" smtClean="0"/>
            <a:t>Impegni e scadenze</a:t>
          </a:r>
          <a:endParaRPr lang="it-IT" sz="2000" dirty="0"/>
        </a:p>
      </dgm:t>
    </dgm:pt>
    <dgm:pt modelId="{2AA545A5-64CB-422B-A8FF-59230265256D}" type="parTrans" cxnId="{99D6C6C3-887C-4B03-95D7-3134CD93B8D3}">
      <dgm:prSet/>
      <dgm:spPr/>
      <dgm:t>
        <a:bodyPr/>
        <a:lstStyle/>
        <a:p>
          <a:endParaRPr lang="it-IT" sz="2800"/>
        </a:p>
      </dgm:t>
    </dgm:pt>
    <dgm:pt modelId="{424A1DCB-DA84-4266-8F48-089C52AB9F7F}" type="sibTrans" cxnId="{99D6C6C3-887C-4B03-95D7-3134CD93B8D3}">
      <dgm:prSet/>
      <dgm:spPr/>
      <dgm:t>
        <a:bodyPr/>
        <a:lstStyle/>
        <a:p>
          <a:endParaRPr lang="it-IT" sz="2800"/>
        </a:p>
      </dgm:t>
    </dgm:pt>
    <dgm:pt modelId="{9AC02135-2974-4C19-8010-CE3C17B01F5F}">
      <dgm:prSet phldrT="[Testo]" custT="1"/>
      <dgm:spPr/>
      <dgm:t>
        <a:bodyPr/>
        <a:lstStyle/>
        <a:p>
          <a:r>
            <a:rPr lang="it-IT" sz="2800" dirty="0" smtClean="0"/>
            <a:t>Condivisione piano di lavoro </a:t>
          </a:r>
          <a:endParaRPr lang="it-IT" sz="2800" dirty="0"/>
        </a:p>
      </dgm:t>
    </dgm:pt>
    <dgm:pt modelId="{0AC746BA-0D67-450D-98DC-FDD762B0CE91}" type="parTrans" cxnId="{B3620282-C1E0-4524-8237-8F82AF3112EC}">
      <dgm:prSet/>
      <dgm:spPr/>
      <dgm:t>
        <a:bodyPr/>
        <a:lstStyle/>
        <a:p>
          <a:endParaRPr lang="it-IT" sz="2800"/>
        </a:p>
      </dgm:t>
    </dgm:pt>
    <dgm:pt modelId="{F59CF7C0-EA04-4357-8732-7FBB15CBCF87}" type="sibTrans" cxnId="{B3620282-C1E0-4524-8237-8F82AF3112EC}">
      <dgm:prSet/>
      <dgm:spPr/>
      <dgm:t>
        <a:bodyPr/>
        <a:lstStyle/>
        <a:p>
          <a:endParaRPr lang="it-IT" sz="2800"/>
        </a:p>
      </dgm:t>
    </dgm:pt>
    <dgm:pt modelId="{E51596C8-E472-4DC4-B223-8F0592DBD454}">
      <dgm:prSet phldrT="[Testo]" custT="1"/>
      <dgm:spPr/>
      <dgm:t>
        <a:bodyPr/>
        <a:lstStyle/>
        <a:p>
          <a:r>
            <a:rPr lang="it-IT" sz="2400" dirty="0" smtClean="0"/>
            <a:t>Format contributi </a:t>
          </a:r>
          <a:endParaRPr lang="it-IT" sz="2400" dirty="0"/>
        </a:p>
      </dgm:t>
    </dgm:pt>
    <dgm:pt modelId="{030957A7-C92B-4510-8D61-EF277EE39BBA}" type="parTrans" cxnId="{80358FFA-CDD6-400D-A452-6631FDAF80A8}">
      <dgm:prSet/>
      <dgm:spPr/>
      <dgm:t>
        <a:bodyPr/>
        <a:lstStyle/>
        <a:p>
          <a:endParaRPr lang="it-IT" sz="2800"/>
        </a:p>
      </dgm:t>
    </dgm:pt>
    <dgm:pt modelId="{5242C4EC-2912-4C8A-B63F-8B02EDD2B286}" type="sibTrans" cxnId="{80358FFA-CDD6-400D-A452-6631FDAF80A8}">
      <dgm:prSet/>
      <dgm:spPr/>
      <dgm:t>
        <a:bodyPr/>
        <a:lstStyle/>
        <a:p>
          <a:endParaRPr lang="it-IT" sz="2800"/>
        </a:p>
      </dgm:t>
    </dgm:pt>
    <dgm:pt modelId="{49BA2AC9-8961-4AAF-BCBF-4F09610E496A}">
      <dgm:prSet phldrT="[Testo]" custT="1"/>
      <dgm:spPr/>
      <dgm:t>
        <a:bodyPr/>
        <a:lstStyle/>
        <a:p>
          <a:r>
            <a:rPr lang="it-IT" sz="2800" dirty="0" smtClean="0"/>
            <a:t>Presentazione e chiarimenti per la compilazione del format</a:t>
          </a:r>
          <a:endParaRPr lang="it-IT" sz="2800" dirty="0"/>
        </a:p>
      </dgm:t>
    </dgm:pt>
    <dgm:pt modelId="{0620C290-809D-4A54-8A77-D640270E55E5}" type="parTrans" cxnId="{F9927A68-4F1F-4497-848F-A1FD62B19E09}">
      <dgm:prSet/>
      <dgm:spPr/>
      <dgm:t>
        <a:bodyPr/>
        <a:lstStyle/>
        <a:p>
          <a:endParaRPr lang="it-IT" sz="2800"/>
        </a:p>
      </dgm:t>
    </dgm:pt>
    <dgm:pt modelId="{7B925CFB-03A6-47B8-84D5-838C5BED5BCE}" type="sibTrans" cxnId="{F9927A68-4F1F-4497-848F-A1FD62B19E09}">
      <dgm:prSet/>
      <dgm:spPr/>
      <dgm:t>
        <a:bodyPr/>
        <a:lstStyle/>
        <a:p>
          <a:endParaRPr lang="it-IT" sz="2800"/>
        </a:p>
      </dgm:t>
    </dgm:pt>
    <dgm:pt modelId="{5CABB013-C727-4154-8D37-4F0D43D878B9}">
      <dgm:prSet phldrT="[Testo]" custT="1"/>
      <dgm:spPr/>
      <dgm:t>
        <a:bodyPr/>
        <a:lstStyle/>
        <a:p>
          <a:r>
            <a:rPr lang="it-IT" sz="2400" dirty="0" smtClean="0"/>
            <a:t>Strumenti e modalità di lavoro</a:t>
          </a:r>
          <a:endParaRPr lang="it-IT" sz="2400" dirty="0"/>
        </a:p>
      </dgm:t>
    </dgm:pt>
    <dgm:pt modelId="{64295AD3-2413-4061-A8D8-E59D147D6AE3}" type="parTrans" cxnId="{E78B13C4-6749-451D-B158-EA8545CB6490}">
      <dgm:prSet/>
      <dgm:spPr/>
      <dgm:t>
        <a:bodyPr/>
        <a:lstStyle/>
        <a:p>
          <a:endParaRPr lang="it-IT" sz="2800"/>
        </a:p>
      </dgm:t>
    </dgm:pt>
    <dgm:pt modelId="{4294BCD3-B897-4FAE-89BE-84A6ABAD3262}" type="sibTrans" cxnId="{E78B13C4-6749-451D-B158-EA8545CB6490}">
      <dgm:prSet/>
      <dgm:spPr/>
      <dgm:t>
        <a:bodyPr/>
        <a:lstStyle/>
        <a:p>
          <a:endParaRPr lang="it-IT" sz="2800"/>
        </a:p>
      </dgm:t>
    </dgm:pt>
    <dgm:pt modelId="{08B2197F-4041-498B-A9A2-D922A43DB1B0}">
      <dgm:prSet phldrT="[Testo]" custT="1"/>
      <dgm:spPr/>
      <dgm:t>
        <a:bodyPr/>
        <a:lstStyle/>
        <a:p>
          <a:r>
            <a:rPr lang="it-IT" sz="2400" dirty="0" smtClean="0"/>
            <a:t>Forum discussione http://www.innovatoripa.it/groups/strategia-innovazione-sicilia</a:t>
          </a:r>
          <a:endParaRPr lang="it-IT" sz="2400" dirty="0"/>
        </a:p>
      </dgm:t>
    </dgm:pt>
    <dgm:pt modelId="{B0805DE2-505B-42BA-B897-F7A71747B9AF}" type="parTrans" cxnId="{18323BEF-6A56-4242-A976-1BA8079A813D}">
      <dgm:prSet/>
      <dgm:spPr/>
      <dgm:t>
        <a:bodyPr/>
        <a:lstStyle/>
        <a:p>
          <a:endParaRPr lang="it-IT" sz="2800"/>
        </a:p>
      </dgm:t>
    </dgm:pt>
    <dgm:pt modelId="{DAE6374E-10D7-4AD2-953F-848ABFC5F6E4}" type="sibTrans" cxnId="{18323BEF-6A56-4242-A976-1BA8079A813D}">
      <dgm:prSet/>
      <dgm:spPr/>
      <dgm:t>
        <a:bodyPr/>
        <a:lstStyle/>
        <a:p>
          <a:endParaRPr lang="it-IT" sz="2800"/>
        </a:p>
      </dgm:t>
    </dgm:pt>
    <dgm:pt modelId="{E2BD00C0-7E72-4721-9A6B-E7D2AFFD0DC2}" type="pres">
      <dgm:prSet presAssocID="{E0ED3B49-5A11-4D59-AE32-316830E8272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0AFD280F-61D0-4EE9-B52F-FB2446A99276}" type="pres">
      <dgm:prSet presAssocID="{21B9E105-4120-4931-9DED-1780A135430E}" presName="composite" presStyleCnt="0"/>
      <dgm:spPr/>
    </dgm:pt>
    <dgm:pt modelId="{F5867A7D-84CC-4ABF-B0E6-DF9F283923CF}" type="pres">
      <dgm:prSet presAssocID="{21B9E105-4120-4931-9DED-1780A135430E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BD922C1-C6AF-40E3-BC00-4A2C5AD342A7}" type="pres">
      <dgm:prSet presAssocID="{21B9E105-4120-4931-9DED-1780A135430E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617589D-382A-43D9-89AF-4B7973CBDBC0}" type="pres">
      <dgm:prSet presAssocID="{424A1DCB-DA84-4266-8F48-089C52AB9F7F}" presName="space" presStyleCnt="0"/>
      <dgm:spPr/>
    </dgm:pt>
    <dgm:pt modelId="{EF862726-283D-4875-A6F8-9EABAC66B829}" type="pres">
      <dgm:prSet presAssocID="{E51596C8-E472-4DC4-B223-8F0592DBD454}" presName="composite" presStyleCnt="0"/>
      <dgm:spPr/>
    </dgm:pt>
    <dgm:pt modelId="{7F2A340E-59E4-4175-8854-BFDFADCB71D4}" type="pres">
      <dgm:prSet presAssocID="{E51596C8-E472-4DC4-B223-8F0592DBD454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4513309-A0E9-4D0F-A5A0-10C1399E3A82}" type="pres">
      <dgm:prSet presAssocID="{E51596C8-E472-4DC4-B223-8F0592DBD454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612A666-3B3F-4DA4-98DB-2C4E364E71E7}" type="pres">
      <dgm:prSet presAssocID="{5242C4EC-2912-4C8A-B63F-8B02EDD2B286}" presName="space" presStyleCnt="0"/>
      <dgm:spPr/>
    </dgm:pt>
    <dgm:pt modelId="{AE79901A-994D-4900-BA52-E3CCDF157C1A}" type="pres">
      <dgm:prSet presAssocID="{5CABB013-C727-4154-8D37-4F0D43D878B9}" presName="composite" presStyleCnt="0"/>
      <dgm:spPr/>
    </dgm:pt>
    <dgm:pt modelId="{A49B64DD-D913-4BEC-83CF-83365F2FB831}" type="pres">
      <dgm:prSet presAssocID="{5CABB013-C727-4154-8D37-4F0D43D878B9}" presName="parTx" presStyleLbl="alignNode1" presStyleIdx="2" presStyleCnt="3" custLinFactNeighborX="27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E16153D-110E-4957-9859-E9281CCD6FF8}" type="pres">
      <dgm:prSet presAssocID="{5CABB013-C727-4154-8D37-4F0D43D878B9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9927A68-4F1F-4497-848F-A1FD62B19E09}" srcId="{E51596C8-E472-4DC4-B223-8F0592DBD454}" destId="{49BA2AC9-8961-4AAF-BCBF-4F09610E496A}" srcOrd="0" destOrd="0" parTransId="{0620C290-809D-4A54-8A77-D640270E55E5}" sibTransId="{7B925CFB-03A6-47B8-84D5-838C5BED5BCE}"/>
    <dgm:cxn modelId="{18323BEF-6A56-4242-A976-1BA8079A813D}" srcId="{5CABB013-C727-4154-8D37-4F0D43D878B9}" destId="{08B2197F-4041-498B-A9A2-D922A43DB1B0}" srcOrd="0" destOrd="0" parTransId="{B0805DE2-505B-42BA-B897-F7A71747B9AF}" sibTransId="{DAE6374E-10D7-4AD2-953F-848ABFC5F6E4}"/>
    <dgm:cxn modelId="{924B9154-AB53-4E80-B122-4C6D9CCAA207}" type="presOf" srcId="{21B9E105-4120-4931-9DED-1780A135430E}" destId="{F5867A7D-84CC-4ABF-B0E6-DF9F283923CF}" srcOrd="0" destOrd="0" presId="urn:microsoft.com/office/officeart/2005/8/layout/hList1"/>
    <dgm:cxn modelId="{729C4EF0-956D-47A0-A793-51B20064C72E}" type="presOf" srcId="{E0ED3B49-5A11-4D59-AE32-316830E82720}" destId="{E2BD00C0-7E72-4721-9A6B-E7D2AFFD0DC2}" srcOrd="0" destOrd="0" presId="urn:microsoft.com/office/officeart/2005/8/layout/hList1"/>
    <dgm:cxn modelId="{80358FFA-CDD6-400D-A452-6631FDAF80A8}" srcId="{E0ED3B49-5A11-4D59-AE32-316830E82720}" destId="{E51596C8-E472-4DC4-B223-8F0592DBD454}" srcOrd="1" destOrd="0" parTransId="{030957A7-C92B-4510-8D61-EF277EE39BBA}" sibTransId="{5242C4EC-2912-4C8A-B63F-8B02EDD2B286}"/>
    <dgm:cxn modelId="{E78B13C4-6749-451D-B158-EA8545CB6490}" srcId="{E0ED3B49-5A11-4D59-AE32-316830E82720}" destId="{5CABB013-C727-4154-8D37-4F0D43D878B9}" srcOrd="2" destOrd="0" parTransId="{64295AD3-2413-4061-A8D8-E59D147D6AE3}" sibTransId="{4294BCD3-B897-4FAE-89BE-84A6ABAD3262}"/>
    <dgm:cxn modelId="{7FBCF68B-AF81-40AA-B523-203CD79484EA}" type="presOf" srcId="{08B2197F-4041-498B-A9A2-D922A43DB1B0}" destId="{5E16153D-110E-4957-9859-E9281CCD6FF8}" srcOrd="0" destOrd="0" presId="urn:microsoft.com/office/officeart/2005/8/layout/hList1"/>
    <dgm:cxn modelId="{FC530CE7-4837-45D0-A766-CB89811C5CC2}" type="presOf" srcId="{9AC02135-2974-4C19-8010-CE3C17B01F5F}" destId="{1BD922C1-C6AF-40E3-BC00-4A2C5AD342A7}" srcOrd="0" destOrd="0" presId="urn:microsoft.com/office/officeart/2005/8/layout/hList1"/>
    <dgm:cxn modelId="{12770F74-CD86-4A16-9639-941D4E987A2A}" type="presOf" srcId="{5CABB013-C727-4154-8D37-4F0D43D878B9}" destId="{A49B64DD-D913-4BEC-83CF-83365F2FB831}" srcOrd="0" destOrd="0" presId="urn:microsoft.com/office/officeart/2005/8/layout/hList1"/>
    <dgm:cxn modelId="{B3620282-C1E0-4524-8237-8F82AF3112EC}" srcId="{21B9E105-4120-4931-9DED-1780A135430E}" destId="{9AC02135-2974-4C19-8010-CE3C17B01F5F}" srcOrd="0" destOrd="0" parTransId="{0AC746BA-0D67-450D-98DC-FDD762B0CE91}" sibTransId="{F59CF7C0-EA04-4357-8732-7FBB15CBCF87}"/>
    <dgm:cxn modelId="{99D6C6C3-887C-4B03-95D7-3134CD93B8D3}" srcId="{E0ED3B49-5A11-4D59-AE32-316830E82720}" destId="{21B9E105-4120-4931-9DED-1780A135430E}" srcOrd="0" destOrd="0" parTransId="{2AA545A5-64CB-422B-A8FF-59230265256D}" sibTransId="{424A1DCB-DA84-4266-8F48-089C52AB9F7F}"/>
    <dgm:cxn modelId="{F335AF09-6ABC-4600-ACC0-C3B581BC7BEF}" type="presOf" srcId="{E51596C8-E472-4DC4-B223-8F0592DBD454}" destId="{7F2A340E-59E4-4175-8854-BFDFADCB71D4}" srcOrd="0" destOrd="0" presId="urn:microsoft.com/office/officeart/2005/8/layout/hList1"/>
    <dgm:cxn modelId="{651AA222-0403-4CA7-9A5B-B16E1BE2C6B9}" type="presOf" srcId="{49BA2AC9-8961-4AAF-BCBF-4F09610E496A}" destId="{94513309-A0E9-4D0F-A5A0-10C1399E3A82}" srcOrd="0" destOrd="0" presId="urn:microsoft.com/office/officeart/2005/8/layout/hList1"/>
    <dgm:cxn modelId="{DB95ADD0-D8C1-42D3-A673-E14EAF518B8A}" type="presParOf" srcId="{E2BD00C0-7E72-4721-9A6B-E7D2AFFD0DC2}" destId="{0AFD280F-61D0-4EE9-B52F-FB2446A99276}" srcOrd="0" destOrd="0" presId="urn:microsoft.com/office/officeart/2005/8/layout/hList1"/>
    <dgm:cxn modelId="{797A5764-E928-427F-A647-137F58188855}" type="presParOf" srcId="{0AFD280F-61D0-4EE9-B52F-FB2446A99276}" destId="{F5867A7D-84CC-4ABF-B0E6-DF9F283923CF}" srcOrd="0" destOrd="0" presId="urn:microsoft.com/office/officeart/2005/8/layout/hList1"/>
    <dgm:cxn modelId="{F8B8412F-F420-4110-9D1A-792BFB51D306}" type="presParOf" srcId="{0AFD280F-61D0-4EE9-B52F-FB2446A99276}" destId="{1BD922C1-C6AF-40E3-BC00-4A2C5AD342A7}" srcOrd="1" destOrd="0" presId="urn:microsoft.com/office/officeart/2005/8/layout/hList1"/>
    <dgm:cxn modelId="{B15120F0-11D1-4A64-BB87-BB58CEF0EB3F}" type="presParOf" srcId="{E2BD00C0-7E72-4721-9A6B-E7D2AFFD0DC2}" destId="{C617589D-382A-43D9-89AF-4B7973CBDBC0}" srcOrd="1" destOrd="0" presId="urn:microsoft.com/office/officeart/2005/8/layout/hList1"/>
    <dgm:cxn modelId="{030E7818-BB47-45E4-B9BF-1BD0D96AF304}" type="presParOf" srcId="{E2BD00C0-7E72-4721-9A6B-E7D2AFFD0DC2}" destId="{EF862726-283D-4875-A6F8-9EABAC66B829}" srcOrd="2" destOrd="0" presId="urn:microsoft.com/office/officeart/2005/8/layout/hList1"/>
    <dgm:cxn modelId="{E2CD719E-E068-4B5A-B7C4-8CD4F66BBFD7}" type="presParOf" srcId="{EF862726-283D-4875-A6F8-9EABAC66B829}" destId="{7F2A340E-59E4-4175-8854-BFDFADCB71D4}" srcOrd="0" destOrd="0" presId="urn:microsoft.com/office/officeart/2005/8/layout/hList1"/>
    <dgm:cxn modelId="{D997C176-E8F4-4283-A9CA-B9806AB6FC37}" type="presParOf" srcId="{EF862726-283D-4875-A6F8-9EABAC66B829}" destId="{94513309-A0E9-4D0F-A5A0-10C1399E3A82}" srcOrd="1" destOrd="0" presId="urn:microsoft.com/office/officeart/2005/8/layout/hList1"/>
    <dgm:cxn modelId="{11664B41-3205-4B2B-8481-388B98F15CD3}" type="presParOf" srcId="{E2BD00C0-7E72-4721-9A6B-E7D2AFFD0DC2}" destId="{A612A666-3B3F-4DA4-98DB-2C4E364E71E7}" srcOrd="3" destOrd="0" presId="urn:microsoft.com/office/officeart/2005/8/layout/hList1"/>
    <dgm:cxn modelId="{BC33B074-27D0-45CF-B7CD-003584DED617}" type="presParOf" srcId="{E2BD00C0-7E72-4721-9A6B-E7D2AFFD0DC2}" destId="{AE79901A-994D-4900-BA52-E3CCDF157C1A}" srcOrd="4" destOrd="0" presId="urn:microsoft.com/office/officeart/2005/8/layout/hList1"/>
    <dgm:cxn modelId="{4CBDBB8C-B36C-48E1-9276-803CC3AEAE16}" type="presParOf" srcId="{AE79901A-994D-4900-BA52-E3CCDF157C1A}" destId="{A49B64DD-D913-4BEC-83CF-83365F2FB831}" srcOrd="0" destOrd="0" presId="urn:microsoft.com/office/officeart/2005/8/layout/hList1"/>
    <dgm:cxn modelId="{E47C6EE9-7A5D-4A3E-9075-E06BD08CC82D}" type="presParOf" srcId="{AE79901A-994D-4900-BA52-E3CCDF157C1A}" destId="{5E16153D-110E-4957-9859-E9281CCD6F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9.xml><?xml version="1.0" encoding="utf-8"?>
<dgm:dataModel xmlns:dgm="http://schemas.openxmlformats.org/drawingml/2006/diagram" xmlns:a="http://schemas.openxmlformats.org/drawingml/2006/main">
  <dgm:ptLst>
    <dgm:pt modelId="{E0ED3B49-5A11-4D59-AE32-316830E8272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5CABB013-C727-4154-8D37-4F0D43D878B9}">
      <dgm:prSet phldrT="[Testo]" custT="1"/>
      <dgm:spPr/>
      <dgm:t>
        <a:bodyPr/>
        <a:lstStyle/>
        <a:p>
          <a:r>
            <a:rPr lang="it-IT" sz="2400" dirty="0" smtClean="0"/>
            <a:t>Strumenti e modalità di lavoro</a:t>
          </a:r>
          <a:endParaRPr lang="it-IT" sz="2400" dirty="0"/>
        </a:p>
      </dgm:t>
    </dgm:pt>
    <dgm:pt modelId="{64295AD3-2413-4061-A8D8-E59D147D6AE3}" type="parTrans" cxnId="{E78B13C4-6749-451D-B158-EA8545CB6490}">
      <dgm:prSet/>
      <dgm:spPr/>
      <dgm:t>
        <a:bodyPr/>
        <a:lstStyle/>
        <a:p>
          <a:endParaRPr lang="it-IT" sz="2800"/>
        </a:p>
      </dgm:t>
    </dgm:pt>
    <dgm:pt modelId="{4294BCD3-B897-4FAE-89BE-84A6ABAD3262}" type="sibTrans" cxnId="{E78B13C4-6749-451D-B158-EA8545CB6490}">
      <dgm:prSet/>
      <dgm:spPr/>
      <dgm:t>
        <a:bodyPr/>
        <a:lstStyle/>
        <a:p>
          <a:endParaRPr lang="it-IT" sz="2800"/>
        </a:p>
      </dgm:t>
    </dgm:pt>
    <dgm:pt modelId="{08B2197F-4041-498B-A9A2-D922A43DB1B0}">
      <dgm:prSet phldrT="[Testo]" custT="1"/>
      <dgm:spPr/>
      <dgm:t>
        <a:bodyPr/>
        <a:lstStyle/>
        <a:p>
          <a:r>
            <a:rPr lang="it-IT" sz="2400" dirty="0" smtClean="0"/>
            <a:t>Comunità su </a:t>
          </a:r>
          <a:r>
            <a:rPr lang="it-IT" sz="2400" dirty="0" err="1" smtClean="0"/>
            <a:t>InnovatoriPA</a:t>
          </a:r>
          <a:endParaRPr lang="it-IT" sz="2400" dirty="0"/>
        </a:p>
      </dgm:t>
    </dgm:pt>
    <dgm:pt modelId="{B0805DE2-505B-42BA-B897-F7A71747B9AF}" type="parTrans" cxnId="{18323BEF-6A56-4242-A976-1BA8079A813D}">
      <dgm:prSet/>
      <dgm:spPr/>
      <dgm:t>
        <a:bodyPr/>
        <a:lstStyle/>
        <a:p>
          <a:endParaRPr lang="it-IT" sz="2800"/>
        </a:p>
      </dgm:t>
    </dgm:pt>
    <dgm:pt modelId="{DAE6374E-10D7-4AD2-953F-848ABFC5F6E4}" type="sibTrans" cxnId="{18323BEF-6A56-4242-A976-1BA8079A813D}">
      <dgm:prSet/>
      <dgm:spPr/>
      <dgm:t>
        <a:bodyPr/>
        <a:lstStyle/>
        <a:p>
          <a:endParaRPr lang="it-IT" sz="2800"/>
        </a:p>
      </dgm:t>
    </dgm:pt>
    <dgm:pt modelId="{F80293C5-9B12-4F73-B1FC-5341342B0FA2}">
      <dgm:prSet phldrT="[Testo]" custT="1"/>
      <dgm:spPr/>
      <dgm:t>
        <a:bodyPr/>
        <a:lstStyle/>
        <a:p>
          <a:r>
            <a:rPr lang="it-IT" sz="2400" dirty="0" smtClean="0"/>
            <a:t>Download documenti (Slide tavolo, Slide Esperto, Piano lavoro, Format contributo)</a:t>
          </a:r>
          <a:endParaRPr lang="it-IT" sz="2400" dirty="0"/>
        </a:p>
      </dgm:t>
    </dgm:pt>
    <dgm:pt modelId="{86557904-AB89-4A2B-9ACB-1ABB69BAB086}" type="parTrans" cxnId="{845A9FBB-9AB1-4EEA-9BAA-EFA493E8D780}">
      <dgm:prSet/>
      <dgm:spPr/>
      <dgm:t>
        <a:bodyPr/>
        <a:lstStyle/>
        <a:p>
          <a:endParaRPr lang="it-IT"/>
        </a:p>
      </dgm:t>
    </dgm:pt>
    <dgm:pt modelId="{75E80B86-89AF-4F7B-895E-991E6D78954B}" type="sibTrans" cxnId="{845A9FBB-9AB1-4EEA-9BAA-EFA493E8D780}">
      <dgm:prSet/>
      <dgm:spPr/>
      <dgm:t>
        <a:bodyPr/>
        <a:lstStyle/>
        <a:p>
          <a:endParaRPr lang="it-IT"/>
        </a:p>
      </dgm:t>
    </dgm:pt>
    <dgm:pt modelId="{0C1D7CF0-B1DE-4AFF-9EEC-68AA94BE4894}">
      <dgm:prSet phldrT="[Testo]" custT="1"/>
      <dgm:spPr/>
      <dgm:t>
        <a:bodyPr/>
        <a:lstStyle/>
        <a:p>
          <a:r>
            <a:rPr lang="it-IT" sz="2400" dirty="0" smtClean="0"/>
            <a:t>Caricamento contributo</a:t>
          </a:r>
          <a:endParaRPr lang="it-IT" sz="2400" dirty="0"/>
        </a:p>
      </dgm:t>
    </dgm:pt>
    <dgm:pt modelId="{9BC87F8D-6A47-4474-99E8-E68DB4ACF69B}" type="parTrans" cxnId="{366122DF-9F50-4282-A85F-CBACCB4E77F0}">
      <dgm:prSet/>
      <dgm:spPr/>
      <dgm:t>
        <a:bodyPr/>
        <a:lstStyle/>
        <a:p>
          <a:endParaRPr lang="it-IT"/>
        </a:p>
      </dgm:t>
    </dgm:pt>
    <dgm:pt modelId="{CB663712-A2F8-4FD2-80C0-D9CE44413293}" type="sibTrans" cxnId="{366122DF-9F50-4282-A85F-CBACCB4E77F0}">
      <dgm:prSet/>
      <dgm:spPr/>
      <dgm:t>
        <a:bodyPr/>
        <a:lstStyle/>
        <a:p>
          <a:endParaRPr lang="it-IT"/>
        </a:p>
      </dgm:t>
    </dgm:pt>
    <dgm:pt modelId="{31FA59E0-FC20-404A-ADDC-AA8009CE9774}">
      <dgm:prSet phldrT="[Testo]" custT="1"/>
      <dgm:spPr/>
      <dgm:t>
        <a:bodyPr/>
        <a:lstStyle/>
        <a:p>
          <a:r>
            <a:rPr lang="it-IT" sz="2400" dirty="0" smtClean="0"/>
            <a:t>Invio commenti </a:t>
          </a:r>
          <a:endParaRPr lang="it-IT" sz="2400" dirty="0"/>
        </a:p>
      </dgm:t>
    </dgm:pt>
    <dgm:pt modelId="{EAD2CDFC-DDB2-48BC-94DC-D06822F89299}" type="parTrans" cxnId="{E085E776-2789-4BD5-8786-927DC8E3F84D}">
      <dgm:prSet/>
      <dgm:spPr/>
      <dgm:t>
        <a:bodyPr/>
        <a:lstStyle/>
        <a:p>
          <a:endParaRPr lang="it-IT"/>
        </a:p>
      </dgm:t>
    </dgm:pt>
    <dgm:pt modelId="{8AFAA520-302D-49F3-B288-558F421D4A7A}" type="sibTrans" cxnId="{E085E776-2789-4BD5-8786-927DC8E3F84D}">
      <dgm:prSet/>
      <dgm:spPr/>
      <dgm:t>
        <a:bodyPr/>
        <a:lstStyle/>
        <a:p>
          <a:endParaRPr lang="it-IT"/>
        </a:p>
      </dgm:t>
    </dgm:pt>
    <dgm:pt modelId="{8E21086A-A768-4C12-A6A6-E59090BE6CDF}">
      <dgm:prSet phldrT="[Testo]" custT="1"/>
      <dgm:spPr/>
      <dgm:t>
        <a:bodyPr/>
        <a:lstStyle/>
        <a:p>
          <a:r>
            <a:rPr lang="it-IT" sz="2400" dirty="0" smtClean="0"/>
            <a:t>E-mail invio allegati: strategia.innovazione@regione.sicilia.it</a:t>
          </a:r>
          <a:endParaRPr lang="it-IT" sz="2400" dirty="0"/>
        </a:p>
      </dgm:t>
    </dgm:pt>
    <dgm:pt modelId="{D239408D-DDB5-4593-9494-9EBCE812E12E}" type="parTrans" cxnId="{2E63C216-43E1-4249-A7DE-F2A32E292EB2}">
      <dgm:prSet/>
      <dgm:spPr/>
      <dgm:t>
        <a:bodyPr/>
        <a:lstStyle/>
        <a:p>
          <a:endParaRPr lang="it-IT"/>
        </a:p>
      </dgm:t>
    </dgm:pt>
    <dgm:pt modelId="{974C8319-E5DA-430F-8ACE-403249911E01}" type="sibTrans" cxnId="{2E63C216-43E1-4249-A7DE-F2A32E292EB2}">
      <dgm:prSet/>
      <dgm:spPr/>
      <dgm:t>
        <a:bodyPr/>
        <a:lstStyle/>
        <a:p>
          <a:endParaRPr lang="it-IT"/>
        </a:p>
      </dgm:t>
    </dgm:pt>
    <dgm:pt modelId="{E2BD00C0-7E72-4721-9A6B-E7D2AFFD0DC2}" type="pres">
      <dgm:prSet presAssocID="{E0ED3B49-5A11-4D59-AE32-316830E8272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E79901A-994D-4900-BA52-E3CCDF157C1A}" type="pres">
      <dgm:prSet presAssocID="{5CABB013-C727-4154-8D37-4F0D43D878B9}" presName="composite" presStyleCnt="0"/>
      <dgm:spPr/>
    </dgm:pt>
    <dgm:pt modelId="{A49B64DD-D913-4BEC-83CF-83365F2FB831}" type="pres">
      <dgm:prSet presAssocID="{5CABB013-C727-4154-8D37-4F0D43D878B9}" presName="parTx" presStyleLbl="alignNode1" presStyleIdx="0" presStyleCnt="1" custScaleY="100000" custLinFactNeighborX="27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E16153D-110E-4957-9859-E9281CCD6FF8}" type="pres">
      <dgm:prSet presAssocID="{5CABB013-C727-4154-8D37-4F0D43D878B9}" presName="desTx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4CAAB5B8-1E2C-4851-92D0-4D56ABDD74F4}" type="presOf" srcId="{5CABB013-C727-4154-8D37-4F0D43D878B9}" destId="{A49B64DD-D913-4BEC-83CF-83365F2FB831}" srcOrd="0" destOrd="0" presId="urn:microsoft.com/office/officeart/2005/8/layout/hList1"/>
    <dgm:cxn modelId="{E13A341B-59AA-4D77-B21E-97E29990AA0F}" type="presOf" srcId="{0C1D7CF0-B1DE-4AFF-9EEC-68AA94BE4894}" destId="{5E16153D-110E-4957-9859-E9281CCD6FF8}" srcOrd="0" destOrd="2" presId="urn:microsoft.com/office/officeart/2005/8/layout/hList1"/>
    <dgm:cxn modelId="{3A502771-A97F-498D-823A-D9FB8CEB3F80}" type="presOf" srcId="{31FA59E0-FC20-404A-ADDC-AA8009CE9774}" destId="{5E16153D-110E-4957-9859-E9281CCD6FF8}" srcOrd="0" destOrd="3" presId="urn:microsoft.com/office/officeart/2005/8/layout/hList1"/>
    <dgm:cxn modelId="{3896E328-2588-49EA-96E3-0EB718F27D37}" type="presOf" srcId="{08B2197F-4041-498B-A9A2-D922A43DB1B0}" destId="{5E16153D-110E-4957-9859-E9281CCD6FF8}" srcOrd="0" destOrd="0" presId="urn:microsoft.com/office/officeart/2005/8/layout/hList1"/>
    <dgm:cxn modelId="{ACD6FB4A-3353-4866-A2C9-44A1AB1EFF25}" type="presOf" srcId="{8E21086A-A768-4C12-A6A6-E59090BE6CDF}" destId="{5E16153D-110E-4957-9859-E9281CCD6FF8}" srcOrd="0" destOrd="4" presId="urn:microsoft.com/office/officeart/2005/8/layout/hList1"/>
    <dgm:cxn modelId="{E085E776-2789-4BD5-8786-927DC8E3F84D}" srcId="{5CABB013-C727-4154-8D37-4F0D43D878B9}" destId="{31FA59E0-FC20-404A-ADDC-AA8009CE9774}" srcOrd="3" destOrd="0" parTransId="{EAD2CDFC-DDB2-48BC-94DC-D06822F89299}" sibTransId="{8AFAA520-302D-49F3-B288-558F421D4A7A}"/>
    <dgm:cxn modelId="{2E63C216-43E1-4249-A7DE-F2A32E292EB2}" srcId="{5CABB013-C727-4154-8D37-4F0D43D878B9}" destId="{8E21086A-A768-4C12-A6A6-E59090BE6CDF}" srcOrd="4" destOrd="0" parTransId="{D239408D-DDB5-4593-9494-9EBCE812E12E}" sibTransId="{974C8319-E5DA-430F-8ACE-403249911E01}"/>
    <dgm:cxn modelId="{54E08F3D-8A68-452C-9A9C-6A2A6CA630CC}" type="presOf" srcId="{F80293C5-9B12-4F73-B1FC-5341342B0FA2}" destId="{5E16153D-110E-4957-9859-E9281CCD6FF8}" srcOrd="0" destOrd="1" presId="urn:microsoft.com/office/officeart/2005/8/layout/hList1"/>
    <dgm:cxn modelId="{BB335D87-E074-443B-B221-755A03BECFFD}" type="presOf" srcId="{E0ED3B49-5A11-4D59-AE32-316830E82720}" destId="{E2BD00C0-7E72-4721-9A6B-E7D2AFFD0DC2}" srcOrd="0" destOrd="0" presId="urn:microsoft.com/office/officeart/2005/8/layout/hList1"/>
    <dgm:cxn modelId="{E78B13C4-6749-451D-B158-EA8545CB6490}" srcId="{E0ED3B49-5A11-4D59-AE32-316830E82720}" destId="{5CABB013-C727-4154-8D37-4F0D43D878B9}" srcOrd="0" destOrd="0" parTransId="{64295AD3-2413-4061-A8D8-E59D147D6AE3}" sibTransId="{4294BCD3-B897-4FAE-89BE-84A6ABAD3262}"/>
    <dgm:cxn modelId="{845A9FBB-9AB1-4EEA-9BAA-EFA493E8D780}" srcId="{5CABB013-C727-4154-8D37-4F0D43D878B9}" destId="{F80293C5-9B12-4F73-B1FC-5341342B0FA2}" srcOrd="1" destOrd="0" parTransId="{86557904-AB89-4A2B-9ACB-1ABB69BAB086}" sibTransId="{75E80B86-89AF-4F7B-895E-991E6D78954B}"/>
    <dgm:cxn modelId="{366122DF-9F50-4282-A85F-CBACCB4E77F0}" srcId="{5CABB013-C727-4154-8D37-4F0D43D878B9}" destId="{0C1D7CF0-B1DE-4AFF-9EEC-68AA94BE4894}" srcOrd="2" destOrd="0" parTransId="{9BC87F8D-6A47-4474-99E8-E68DB4ACF69B}" sibTransId="{CB663712-A2F8-4FD2-80C0-D9CE44413293}"/>
    <dgm:cxn modelId="{18323BEF-6A56-4242-A976-1BA8079A813D}" srcId="{5CABB013-C727-4154-8D37-4F0D43D878B9}" destId="{08B2197F-4041-498B-A9A2-D922A43DB1B0}" srcOrd="0" destOrd="0" parTransId="{B0805DE2-505B-42BA-B897-F7A71747B9AF}" sibTransId="{DAE6374E-10D7-4AD2-953F-848ABFC5F6E4}"/>
    <dgm:cxn modelId="{9AAE4482-3ABE-4104-82BD-C8CE26290A7B}" type="presParOf" srcId="{E2BD00C0-7E72-4721-9A6B-E7D2AFFD0DC2}" destId="{AE79901A-994D-4900-BA52-E3CCDF157C1A}" srcOrd="0" destOrd="0" presId="urn:microsoft.com/office/officeart/2005/8/layout/hList1"/>
    <dgm:cxn modelId="{D8EE0778-D882-4CB3-9D14-10E513028CA3}" type="presParOf" srcId="{AE79901A-994D-4900-BA52-E3CCDF157C1A}" destId="{A49B64DD-D913-4BEC-83CF-83365F2FB831}" srcOrd="0" destOrd="0" presId="urn:microsoft.com/office/officeart/2005/8/layout/hList1"/>
    <dgm:cxn modelId="{DC3E21F1-AEDD-4D31-94FD-1C8E462C3603}" type="presParOf" srcId="{AE79901A-994D-4900-BA52-E3CCDF157C1A}" destId="{5E16153D-110E-4957-9859-E9281CCD6F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614299B-2072-44D6-A8AE-2578D07D4A7F}" type="doc">
      <dgm:prSet loTypeId="urn:microsoft.com/office/officeart/2005/8/layout/cycle8" loCatId="cycle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5A4119CE-9133-4521-82CC-5CDF3CB50322}">
      <dgm:prSet phldrT="[Testo]"/>
      <dgm:spPr/>
      <dgm:t>
        <a:bodyPr/>
        <a:lstStyle/>
        <a:p>
          <a:r>
            <a:rPr lang="it-IT" dirty="0" smtClean="0"/>
            <a:t>Avvio</a:t>
          </a:r>
          <a:endParaRPr lang="it-IT" dirty="0"/>
        </a:p>
      </dgm:t>
    </dgm:pt>
    <dgm:pt modelId="{1AD96800-53D1-42FA-8BB9-CB8EA57457DA}" type="parTrans" cxnId="{2BFF39B4-673E-415C-BEDA-13B11218ED14}">
      <dgm:prSet/>
      <dgm:spPr/>
      <dgm:t>
        <a:bodyPr/>
        <a:lstStyle/>
        <a:p>
          <a:endParaRPr lang="it-IT"/>
        </a:p>
      </dgm:t>
    </dgm:pt>
    <dgm:pt modelId="{414911D7-F683-448B-BAFC-973B6F7BAE8C}" type="sibTrans" cxnId="{2BFF39B4-673E-415C-BEDA-13B11218ED14}">
      <dgm:prSet/>
      <dgm:spPr/>
      <dgm:t>
        <a:bodyPr/>
        <a:lstStyle/>
        <a:p>
          <a:endParaRPr lang="it-IT"/>
        </a:p>
      </dgm:t>
    </dgm:pt>
    <dgm:pt modelId="{A38EE3BB-1857-4162-BD97-E4F09BD3E9D5}">
      <dgm:prSet phldrT="[Testo]"/>
      <dgm:spPr/>
      <dgm:t>
        <a:bodyPr/>
        <a:lstStyle/>
        <a:p>
          <a:r>
            <a:rPr lang="it-IT" dirty="0" smtClean="0"/>
            <a:t>Elaborazione ed invio contributi</a:t>
          </a:r>
          <a:endParaRPr lang="it-IT" dirty="0"/>
        </a:p>
      </dgm:t>
    </dgm:pt>
    <dgm:pt modelId="{960ED48D-7B66-4707-B779-3BEA4CE1F7D8}" type="parTrans" cxnId="{E5CD6CE0-EBAD-43B4-9A20-8F674AA6C3DC}">
      <dgm:prSet/>
      <dgm:spPr/>
      <dgm:t>
        <a:bodyPr/>
        <a:lstStyle/>
        <a:p>
          <a:endParaRPr lang="it-IT"/>
        </a:p>
      </dgm:t>
    </dgm:pt>
    <dgm:pt modelId="{CE7B6273-0C49-4549-9983-578881C51358}" type="sibTrans" cxnId="{E5CD6CE0-EBAD-43B4-9A20-8F674AA6C3DC}">
      <dgm:prSet/>
      <dgm:spPr/>
      <dgm:t>
        <a:bodyPr/>
        <a:lstStyle/>
        <a:p>
          <a:endParaRPr lang="it-IT"/>
        </a:p>
      </dgm:t>
    </dgm:pt>
    <dgm:pt modelId="{8129AC6B-B953-4C5D-96AC-DB9331523478}">
      <dgm:prSet phldrT="[Testo]"/>
      <dgm:spPr/>
      <dgm:t>
        <a:bodyPr/>
        <a:lstStyle/>
        <a:p>
          <a:r>
            <a:rPr lang="it-IT" dirty="0" smtClean="0"/>
            <a:t>Raccolta e sistematizzazione contributi</a:t>
          </a:r>
          <a:endParaRPr lang="it-IT" dirty="0"/>
        </a:p>
      </dgm:t>
    </dgm:pt>
    <dgm:pt modelId="{FB89B788-C656-4FB1-938D-A527B2F1AC8D}" type="parTrans" cxnId="{7245D303-6344-451B-A6A1-E18A65A092FE}">
      <dgm:prSet/>
      <dgm:spPr/>
      <dgm:t>
        <a:bodyPr/>
        <a:lstStyle/>
        <a:p>
          <a:endParaRPr lang="it-IT"/>
        </a:p>
      </dgm:t>
    </dgm:pt>
    <dgm:pt modelId="{4AD9F207-EEF0-4CB8-9D87-6E9A4CF0E676}" type="sibTrans" cxnId="{7245D303-6344-451B-A6A1-E18A65A092FE}">
      <dgm:prSet/>
      <dgm:spPr/>
      <dgm:t>
        <a:bodyPr/>
        <a:lstStyle/>
        <a:p>
          <a:endParaRPr lang="it-IT"/>
        </a:p>
      </dgm:t>
    </dgm:pt>
    <dgm:pt modelId="{D8ECAAE4-BB06-4247-BFF9-DE9C767B500B}">
      <dgm:prSet phldrT="[Testo]"/>
      <dgm:spPr/>
      <dgm:t>
        <a:bodyPr/>
        <a:lstStyle/>
        <a:p>
          <a:r>
            <a:rPr lang="it-IT" dirty="0" smtClean="0"/>
            <a:t>Restituzione e condivisione</a:t>
          </a:r>
          <a:endParaRPr lang="it-IT" dirty="0"/>
        </a:p>
      </dgm:t>
    </dgm:pt>
    <dgm:pt modelId="{EE7AFA6A-9065-4FEC-BC19-2F72BA31E000}" type="parTrans" cxnId="{7DE1D404-EEC6-4E91-A3B2-4D6973BE88A1}">
      <dgm:prSet/>
      <dgm:spPr/>
      <dgm:t>
        <a:bodyPr/>
        <a:lstStyle/>
        <a:p>
          <a:endParaRPr lang="it-IT"/>
        </a:p>
      </dgm:t>
    </dgm:pt>
    <dgm:pt modelId="{82EF2C73-0944-4DE5-9C97-BBD2A70FBC63}" type="sibTrans" cxnId="{7DE1D404-EEC6-4E91-A3B2-4D6973BE88A1}">
      <dgm:prSet/>
      <dgm:spPr/>
      <dgm:t>
        <a:bodyPr/>
        <a:lstStyle/>
        <a:p>
          <a:endParaRPr lang="it-IT"/>
        </a:p>
      </dgm:t>
    </dgm:pt>
    <dgm:pt modelId="{9B2DF850-6F39-4C7B-8F9C-4FB9B6127052}" type="pres">
      <dgm:prSet presAssocID="{C614299B-2072-44D6-A8AE-2578D07D4A7F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21CCAE3-4E5B-4AD4-98CF-C84CFD4B2B61}" type="pres">
      <dgm:prSet presAssocID="{C614299B-2072-44D6-A8AE-2578D07D4A7F}" presName="wedge1" presStyleLbl="node1" presStyleIdx="0" presStyleCnt="4"/>
      <dgm:spPr/>
      <dgm:t>
        <a:bodyPr/>
        <a:lstStyle/>
        <a:p>
          <a:endParaRPr lang="it-IT"/>
        </a:p>
      </dgm:t>
    </dgm:pt>
    <dgm:pt modelId="{C4E6D097-CC03-48D3-857D-DC2A4EA423B4}" type="pres">
      <dgm:prSet presAssocID="{C614299B-2072-44D6-A8AE-2578D07D4A7F}" presName="dummy1a" presStyleCnt="0"/>
      <dgm:spPr/>
    </dgm:pt>
    <dgm:pt modelId="{C40D7312-AB5A-4228-9936-8EA64F9B4BFD}" type="pres">
      <dgm:prSet presAssocID="{C614299B-2072-44D6-A8AE-2578D07D4A7F}" presName="dummy1b" presStyleCnt="0"/>
      <dgm:spPr/>
    </dgm:pt>
    <dgm:pt modelId="{BED3001F-674E-470B-8B2C-07271289107A}" type="pres">
      <dgm:prSet presAssocID="{C614299B-2072-44D6-A8AE-2578D07D4A7F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0F6EC78-48FE-4338-9470-51C5945E4C5A}" type="pres">
      <dgm:prSet presAssocID="{C614299B-2072-44D6-A8AE-2578D07D4A7F}" presName="wedge2" presStyleLbl="node1" presStyleIdx="1" presStyleCnt="4"/>
      <dgm:spPr/>
      <dgm:t>
        <a:bodyPr/>
        <a:lstStyle/>
        <a:p>
          <a:endParaRPr lang="it-IT"/>
        </a:p>
      </dgm:t>
    </dgm:pt>
    <dgm:pt modelId="{FE710D49-71F8-4120-B031-08BEE462CD9D}" type="pres">
      <dgm:prSet presAssocID="{C614299B-2072-44D6-A8AE-2578D07D4A7F}" presName="dummy2a" presStyleCnt="0"/>
      <dgm:spPr/>
    </dgm:pt>
    <dgm:pt modelId="{5B7D1FFF-ED52-4A71-A480-94D2B8A2FE6C}" type="pres">
      <dgm:prSet presAssocID="{C614299B-2072-44D6-A8AE-2578D07D4A7F}" presName="dummy2b" presStyleCnt="0"/>
      <dgm:spPr/>
    </dgm:pt>
    <dgm:pt modelId="{8F5469E7-585B-41BF-B0B9-432DEE54B9D7}" type="pres">
      <dgm:prSet presAssocID="{C614299B-2072-44D6-A8AE-2578D07D4A7F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6474684D-7762-4CD1-A3B4-D72EED99A80F}" type="pres">
      <dgm:prSet presAssocID="{C614299B-2072-44D6-A8AE-2578D07D4A7F}" presName="wedge3" presStyleLbl="node1" presStyleIdx="2" presStyleCnt="4"/>
      <dgm:spPr/>
      <dgm:t>
        <a:bodyPr/>
        <a:lstStyle/>
        <a:p>
          <a:endParaRPr lang="it-IT"/>
        </a:p>
      </dgm:t>
    </dgm:pt>
    <dgm:pt modelId="{C95F34F1-DD72-4853-B47C-7B5756226F78}" type="pres">
      <dgm:prSet presAssocID="{C614299B-2072-44D6-A8AE-2578D07D4A7F}" presName="dummy3a" presStyleCnt="0"/>
      <dgm:spPr/>
    </dgm:pt>
    <dgm:pt modelId="{C5216591-466C-44C9-89A5-685B16ABD408}" type="pres">
      <dgm:prSet presAssocID="{C614299B-2072-44D6-A8AE-2578D07D4A7F}" presName="dummy3b" presStyleCnt="0"/>
      <dgm:spPr/>
    </dgm:pt>
    <dgm:pt modelId="{C15382B8-6863-47C3-BF10-11F61B0D5D87}" type="pres">
      <dgm:prSet presAssocID="{C614299B-2072-44D6-A8AE-2578D07D4A7F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CD97BB5-9B57-47E0-A5C0-4486B247297F}" type="pres">
      <dgm:prSet presAssocID="{C614299B-2072-44D6-A8AE-2578D07D4A7F}" presName="wedge4" presStyleLbl="node1" presStyleIdx="3" presStyleCnt="4"/>
      <dgm:spPr/>
      <dgm:t>
        <a:bodyPr/>
        <a:lstStyle/>
        <a:p>
          <a:endParaRPr lang="it-IT"/>
        </a:p>
      </dgm:t>
    </dgm:pt>
    <dgm:pt modelId="{89660C4E-0CFD-40FC-BBED-805D1F489E1A}" type="pres">
      <dgm:prSet presAssocID="{C614299B-2072-44D6-A8AE-2578D07D4A7F}" presName="dummy4a" presStyleCnt="0"/>
      <dgm:spPr/>
    </dgm:pt>
    <dgm:pt modelId="{3757EB00-7E33-495C-9253-257317882ECE}" type="pres">
      <dgm:prSet presAssocID="{C614299B-2072-44D6-A8AE-2578D07D4A7F}" presName="dummy4b" presStyleCnt="0"/>
      <dgm:spPr/>
    </dgm:pt>
    <dgm:pt modelId="{55D7C5ED-B24F-4D70-AEDF-14ECE132D3E5}" type="pres">
      <dgm:prSet presAssocID="{C614299B-2072-44D6-A8AE-2578D07D4A7F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CC2729F-211C-496E-9C98-DF70F4BFF7C1}" type="pres">
      <dgm:prSet presAssocID="{414911D7-F683-448B-BAFC-973B6F7BAE8C}" presName="arrowWedge1" presStyleLbl="fgSibTrans2D1" presStyleIdx="0" presStyleCnt="4"/>
      <dgm:spPr/>
    </dgm:pt>
    <dgm:pt modelId="{6E92B4D0-B766-4BEF-AE06-9F28B81EEEE6}" type="pres">
      <dgm:prSet presAssocID="{CE7B6273-0C49-4549-9983-578881C51358}" presName="arrowWedge2" presStyleLbl="fgSibTrans2D1" presStyleIdx="1" presStyleCnt="4"/>
      <dgm:spPr/>
    </dgm:pt>
    <dgm:pt modelId="{2C8C345A-097E-4D75-B389-7699A21EF75E}" type="pres">
      <dgm:prSet presAssocID="{4AD9F207-EEF0-4CB8-9D87-6E9A4CF0E676}" presName="arrowWedge3" presStyleLbl="fgSibTrans2D1" presStyleIdx="2" presStyleCnt="4" custLinFactNeighborX="-123" custLinFactNeighborY="1171"/>
      <dgm:spPr/>
    </dgm:pt>
    <dgm:pt modelId="{A214AC69-442E-4B0A-9DD7-23F3962569FF}" type="pres">
      <dgm:prSet presAssocID="{82EF2C73-0944-4DE5-9C97-BBD2A70FBC63}" presName="arrowWedge4" presStyleLbl="fgSibTrans2D1" presStyleIdx="3" presStyleCnt="4"/>
      <dgm:spPr/>
    </dgm:pt>
  </dgm:ptLst>
  <dgm:cxnLst>
    <dgm:cxn modelId="{465D4CC9-1EF1-4C91-A55A-3517FA75634A}" type="presOf" srcId="{D8ECAAE4-BB06-4247-BFF9-DE9C767B500B}" destId="{55D7C5ED-B24F-4D70-AEDF-14ECE132D3E5}" srcOrd="1" destOrd="0" presId="urn:microsoft.com/office/officeart/2005/8/layout/cycle8"/>
    <dgm:cxn modelId="{D615B474-C893-4DB6-ADED-A10586C07E68}" type="presOf" srcId="{D8ECAAE4-BB06-4247-BFF9-DE9C767B500B}" destId="{2CD97BB5-9B57-47E0-A5C0-4486B247297F}" srcOrd="0" destOrd="0" presId="urn:microsoft.com/office/officeart/2005/8/layout/cycle8"/>
    <dgm:cxn modelId="{21C43A81-AC60-4165-B56E-4376656D357A}" type="presOf" srcId="{5A4119CE-9133-4521-82CC-5CDF3CB50322}" destId="{B21CCAE3-4E5B-4AD4-98CF-C84CFD4B2B61}" srcOrd="0" destOrd="0" presId="urn:microsoft.com/office/officeart/2005/8/layout/cycle8"/>
    <dgm:cxn modelId="{0778C027-0164-4D7D-B124-385C5F195821}" type="presOf" srcId="{8129AC6B-B953-4C5D-96AC-DB9331523478}" destId="{C15382B8-6863-47C3-BF10-11F61B0D5D87}" srcOrd="1" destOrd="0" presId="urn:microsoft.com/office/officeart/2005/8/layout/cycle8"/>
    <dgm:cxn modelId="{E5CD6CE0-EBAD-43B4-9A20-8F674AA6C3DC}" srcId="{C614299B-2072-44D6-A8AE-2578D07D4A7F}" destId="{A38EE3BB-1857-4162-BD97-E4F09BD3E9D5}" srcOrd="1" destOrd="0" parTransId="{960ED48D-7B66-4707-B779-3BEA4CE1F7D8}" sibTransId="{CE7B6273-0C49-4549-9983-578881C51358}"/>
    <dgm:cxn modelId="{C3DCCD73-C2FB-4724-9EB9-1EA07084FAC6}" type="presOf" srcId="{A38EE3BB-1857-4162-BD97-E4F09BD3E9D5}" destId="{8F5469E7-585B-41BF-B0B9-432DEE54B9D7}" srcOrd="1" destOrd="0" presId="urn:microsoft.com/office/officeart/2005/8/layout/cycle8"/>
    <dgm:cxn modelId="{46E10D8A-37EA-40E2-A304-BD6E5B5933AC}" type="presOf" srcId="{C614299B-2072-44D6-A8AE-2578D07D4A7F}" destId="{9B2DF850-6F39-4C7B-8F9C-4FB9B6127052}" srcOrd="0" destOrd="0" presId="urn:microsoft.com/office/officeart/2005/8/layout/cycle8"/>
    <dgm:cxn modelId="{B251A67A-DAB1-4099-ACD5-AB07D02930A4}" type="presOf" srcId="{A38EE3BB-1857-4162-BD97-E4F09BD3E9D5}" destId="{F0F6EC78-48FE-4338-9470-51C5945E4C5A}" srcOrd="0" destOrd="0" presId="urn:microsoft.com/office/officeart/2005/8/layout/cycle8"/>
    <dgm:cxn modelId="{837C22C5-12DE-4F9D-899C-935EC5F8F07F}" type="presOf" srcId="{5A4119CE-9133-4521-82CC-5CDF3CB50322}" destId="{BED3001F-674E-470B-8B2C-07271289107A}" srcOrd="1" destOrd="0" presId="urn:microsoft.com/office/officeart/2005/8/layout/cycle8"/>
    <dgm:cxn modelId="{7DE1D404-EEC6-4E91-A3B2-4D6973BE88A1}" srcId="{C614299B-2072-44D6-A8AE-2578D07D4A7F}" destId="{D8ECAAE4-BB06-4247-BFF9-DE9C767B500B}" srcOrd="3" destOrd="0" parTransId="{EE7AFA6A-9065-4FEC-BC19-2F72BA31E000}" sibTransId="{82EF2C73-0944-4DE5-9C97-BBD2A70FBC63}"/>
    <dgm:cxn modelId="{7245D303-6344-451B-A6A1-E18A65A092FE}" srcId="{C614299B-2072-44D6-A8AE-2578D07D4A7F}" destId="{8129AC6B-B953-4C5D-96AC-DB9331523478}" srcOrd="2" destOrd="0" parTransId="{FB89B788-C656-4FB1-938D-A527B2F1AC8D}" sibTransId="{4AD9F207-EEF0-4CB8-9D87-6E9A4CF0E676}"/>
    <dgm:cxn modelId="{3297AF50-D382-4EE9-B684-8DC6E3278A93}" type="presOf" srcId="{8129AC6B-B953-4C5D-96AC-DB9331523478}" destId="{6474684D-7762-4CD1-A3B4-D72EED99A80F}" srcOrd="0" destOrd="0" presId="urn:microsoft.com/office/officeart/2005/8/layout/cycle8"/>
    <dgm:cxn modelId="{2BFF39B4-673E-415C-BEDA-13B11218ED14}" srcId="{C614299B-2072-44D6-A8AE-2578D07D4A7F}" destId="{5A4119CE-9133-4521-82CC-5CDF3CB50322}" srcOrd="0" destOrd="0" parTransId="{1AD96800-53D1-42FA-8BB9-CB8EA57457DA}" sibTransId="{414911D7-F683-448B-BAFC-973B6F7BAE8C}"/>
    <dgm:cxn modelId="{D49B29B3-4230-41F8-B6BC-FD61498576BC}" type="presParOf" srcId="{9B2DF850-6F39-4C7B-8F9C-4FB9B6127052}" destId="{B21CCAE3-4E5B-4AD4-98CF-C84CFD4B2B61}" srcOrd="0" destOrd="0" presId="urn:microsoft.com/office/officeart/2005/8/layout/cycle8"/>
    <dgm:cxn modelId="{902FFF6F-603B-422E-BBD5-2060F558F2B2}" type="presParOf" srcId="{9B2DF850-6F39-4C7B-8F9C-4FB9B6127052}" destId="{C4E6D097-CC03-48D3-857D-DC2A4EA423B4}" srcOrd="1" destOrd="0" presId="urn:microsoft.com/office/officeart/2005/8/layout/cycle8"/>
    <dgm:cxn modelId="{BFC51849-C729-4147-85AD-E15200811941}" type="presParOf" srcId="{9B2DF850-6F39-4C7B-8F9C-4FB9B6127052}" destId="{C40D7312-AB5A-4228-9936-8EA64F9B4BFD}" srcOrd="2" destOrd="0" presId="urn:microsoft.com/office/officeart/2005/8/layout/cycle8"/>
    <dgm:cxn modelId="{2241C3AF-3AEE-4EF1-8D5F-D91C3290BA48}" type="presParOf" srcId="{9B2DF850-6F39-4C7B-8F9C-4FB9B6127052}" destId="{BED3001F-674E-470B-8B2C-07271289107A}" srcOrd="3" destOrd="0" presId="urn:microsoft.com/office/officeart/2005/8/layout/cycle8"/>
    <dgm:cxn modelId="{95B183E0-8CDA-4235-A0CE-C857CB12DB1E}" type="presParOf" srcId="{9B2DF850-6F39-4C7B-8F9C-4FB9B6127052}" destId="{F0F6EC78-48FE-4338-9470-51C5945E4C5A}" srcOrd="4" destOrd="0" presId="urn:microsoft.com/office/officeart/2005/8/layout/cycle8"/>
    <dgm:cxn modelId="{6861A204-3482-419B-AE36-E68F08C68389}" type="presParOf" srcId="{9B2DF850-6F39-4C7B-8F9C-4FB9B6127052}" destId="{FE710D49-71F8-4120-B031-08BEE462CD9D}" srcOrd="5" destOrd="0" presId="urn:microsoft.com/office/officeart/2005/8/layout/cycle8"/>
    <dgm:cxn modelId="{A1E34D7B-76E0-4465-9A2C-B0DDEC8E8736}" type="presParOf" srcId="{9B2DF850-6F39-4C7B-8F9C-4FB9B6127052}" destId="{5B7D1FFF-ED52-4A71-A480-94D2B8A2FE6C}" srcOrd="6" destOrd="0" presId="urn:microsoft.com/office/officeart/2005/8/layout/cycle8"/>
    <dgm:cxn modelId="{F30323AD-2C8A-4004-B420-9448A20AAA40}" type="presParOf" srcId="{9B2DF850-6F39-4C7B-8F9C-4FB9B6127052}" destId="{8F5469E7-585B-41BF-B0B9-432DEE54B9D7}" srcOrd="7" destOrd="0" presId="urn:microsoft.com/office/officeart/2005/8/layout/cycle8"/>
    <dgm:cxn modelId="{69C0C687-153A-4FE0-B1EC-15481907B852}" type="presParOf" srcId="{9B2DF850-6F39-4C7B-8F9C-4FB9B6127052}" destId="{6474684D-7762-4CD1-A3B4-D72EED99A80F}" srcOrd="8" destOrd="0" presId="urn:microsoft.com/office/officeart/2005/8/layout/cycle8"/>
    <dgm:cxn modelId="{90161D1A-F10B-4680-B126-8034510D84A4}" type="presParOf" srcId="{9B2DF850-6F39-4C7B-8F9C-4FB9B6127052}" destId="{C95F34F1-DD72-4853-B47C-7B5756226F78}" srcOrd="9" destOrd="0" presId="urn:microsoft.com/office/officeart/2005/8/layout/cycle8"/>
    <dgm:cxn modelId="{98E92BB0-BAC1-413B-83E6-A1754A9DD003}" type="presParOf" srcId="{9B2DF850-6F39-4C7B-8F9C-4FB9B6127052}" destId="{C5216591-466C-44C9-89A5-685B16ABD408}" srcOrd="10" destOrd="0" presId="urn:microsoft.com/office/officeart/2005/8/layout/cycle8"/>
    <dgm:cxn modelId="{73965C48-7A48-44E6-ABB5-BF7094FE1033}" type="presParOf" srcId="{9B2DF850-6F39-4C7B-8F9C-4FB9B6127052}" destId="{C15382B8-6863-47C3-BF10-11F61B0D5D87}" srcOrd="11" destOrd="0" presId="urn:microsoft.com/office/officeart/2005/8/layout/cycle8"/>
    <dgm:cxn modelId="{4523177D-534D-4BD6-9F87-C8842E65689E}" type="presParOf" srcId="{9B2DF850-6F39-4C7B-8F9C-4FB9B6127052}" destId="{2CD97BB5-9B57-47E0-A5C0-4486B247297F}" srcOrd="12" destOrd="0" presId="urn:microsoft.com/office/officeart/2005/8/layout/cycle8"/>
    <dgm:cxn modelId="{85E7E27F-F3C1-4DB9-9601-6FBC99C31459}" type="presParOf" srcId="{9B2DF850-6F39-4C7B-8F9C-4FB9B6127052}" destId="{89660C4E-0CFD-40FC-BBED-805D1F489E1A}" srcOrd="13" destOrd="0" presId="urn:microsoft.com/office/officeart/2005/8/layout/cycle8"/>
    <dgm:cxn modelId="{437EDA0F-A9AF-4C55-B588-8AB4A73C8CAD}" type="presParOf" srcId="{9B2DF850-6F39-4C7B-8F9C-4FB9B6127052}" destId="{3757EB00-7E33-495C-9253-257317882ECE}" srcOrd="14" destOrd="0" presId="urn:microsoft.com/office/officeart/2005/8/layout/cycle8"/>
    <dgm:cxn modelId="{0CA8FAA4-F7CD-461C-9C85-E60A1EEB1502}" type="presParOf" srcId="{9B2DF850-6F39-4C7B-8F9C-4FB9B6127052}" destId="{55D7C5ED-B24F-4D70-AEDF-14ECE132D3E5}" srcOrd="15" destOrd="0" presId="urn:microsoft.com/office/officeart/2005/8/layout/cycle8"/>
    <dgm:cxn modelId="{E5723A97-9930-45D9-9A26-73877738ED73}" type="presParOf" srcId="{9B2DF850-6F39-4C7B-8F9C-4FB9B6127052}" destId="{5CC2729F-211C-496E-9C98-DF70F4BFF7C1}" srcOrd="16" destOrd="0" presId="urn:microsoft.com/office/officeart/2005/8/layout/cycle8"/>
    <dgm:cxn modelId="{6240607C-4AAC-4518-AD48-5915E115E9F4}" type="presParOf" srcId="{9B2DF850-6F39-4C7B-8F9C-4FB9B6127052}" destId="{6E92B4D0-B766-4BEF-AE06-9F28B81EEEE6}" srcOrd="17" destOrd="0" presId="urn:microsoft.com/office/officeart/2005/8/layout/cycle8"/>
    <dgm:cxn modelId="{EBA0A568-D8E4-4CD3-9B5B-10C30BDAAF09}" type="presParOf" srcId="{9B2DF850-6F39-4C7B-8F9C-4FB9B6127052}" destId="{2C8C345A-097E-4D75-B389-7699A21EF75E}" srcOrd="18" destOrd="0" presId="urn:microsoft.com/office/officeart/2005/8/layout/cycle8"/>
    <dgm:cxn modelId="{347DDEFB-64D2-4293-A2F4-39E822DB33A8}" type="presParOf" srcId="{9B2DF850-6F39-4C7B-8F9C-4FB9B6127052}" destId="{A214AC69-442E-4B0A-9DD7-23F3962569FF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Chi siamo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2835D1-122D-4027-AADC-8E33108B9F24}">
      <dsp:nvSpPr>
        <dsp:cNvPr id="0" name=""/>
        <dsp:cNvSpPr/>
      </dsp:nvSpPr>
      <dsp:spPr>
        <a:xfrm>
          <a:off x="4963" y="1477"/>
          <a:ext cx="2122042" cy="836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Definizione piano di lavoro (in presenza)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8-9 maggio 2014</a:t>
          </a:r>
          <a:endParaRPr lang="it-IT" sz="1800" kern="1200" dirty="0"/>
        </a:p>
      </dsp:txBody>
      <dsp:txXfrm>
        <a:off x="4963" y="1477"/>
        <a:ext cx="2122042" cy="83686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CC59A-ED65-4B0D-9470-3F18E593A142}">
      <dsp:nvSpPr>
        <dsp:cNvPr id="0" name=""/>
        <dsp:cNvSpPr/>
      </dsp:nvSpPr>
      <dsp:spPr>
        <a:xfrm>
          <a:off x="0" y="0"/>
          <a:ext cx="7574833" cy="0"/>
        </a:xfrm>
        <a:prstGeom prst="line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4F97BB-80AE-4B89-8B32-FB05A53BD028}">
      <dsp:nvSpPr>
        <dsp:cNvPr id="0" name=""/>
        <dsp:cNvSpPr/>
      </dsp:nvSpPr>
      <dsp:spPr>
        <a:xfrm>
          <a:off x="0" y="0"/>
          <a:ext cx="7574833" cy="7297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800" b="1" i="0" kern="1200" dirty="0">
            <a:solidFill>
              <a:srgbClr val="C00000"/>
            </a:solidFill>
          </a:endParaRPr>
        </a:p>
      </dsp:txBody>
      <dsp:txXfrm>
        <a:off x="0" y="0"/>
        <a:ext cx="7574833" cy="72976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434D6D-2122-4A51-877E-06D18981102B}">
      <dsp:nvSpPr>
        <dsp:cNvPr id="0" name=""/>
        <dsp:cNvSpPr/>
      </dsp:nvSpPr>
      <dsp:spPr>
        <a:xfrm>
          <a:off x="3655797" y="0"/>
          <a:ext cx="1817686" cy="34173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Biotecnologie</a:t>
          </a:r>
          <a:endParaRPr lang="it-IT" sz="1300" kern="1200" dirty="0"/>
        </a:p>
      </dsp:txBody>
      <dsp:txXfrm>
        <a:off x="3672479" y="16682"/>
        <a:ext cx="1784322" cy="308372"/>
      </dsp:txXfrm>
    </dsp:sp>
    <dsp:sp modelId="{B48349C0-DA42-45C1-A305-A31ACB3E56FA}">
      <dsp:nvSpPr>
        <dsp:cNvPr id="0" name=""/>
        <dsp:cNvSpPr/>
      </dsp:nvSpPr>
      <dsp:spPr>
        <a:xfrm>
          <a:off x="3611886" y="200819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1838273" y="3282"/>
              </a:moveTo>
              <a:arcTo wR="1951418" hR="1951418" stAng="16000565" swAng="427159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C538DC-7B9C-4F13-B5F1-2B31B455CDEC}">
      <dsp:nvSpPr>
        <dsp:cNvPr id="0" name=""/>
        <dsp:cNvSpPr/>
      </dsp:nvSpPr>
      <dsp:spPr>
        <a:xfrm>
          <a:off x="7510984" y="1955458"/>
          <a:ext cx="824557" cy="6728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ICT</a:t>
          </a:r>
          <a:endParaRPr lang="it-IT" sz="1300" kern="1200" dirty="0"/>
        </a:p>
      </dsp:txBody>
      <dsp:txXfrm>
        <a:off x="7543828" y="1988302"/>
        <a:ext cx="758869" cy="607115"/>
      </dsp:txXfrm>
    </dsp:sp>
    <dsp:sp modelId="{C398BA1F-BFAB-4EDA-A553-016DA6A23E7D}">
      <dsp:nvSpPr>
        <dsp:cNvPr id="0" name=""/>
        <dsp:cNvSpPr/>
      </dsp:nvSpPr>
      <dsp:spPr>
        <a:xfrm>
          <a:off x="4028202" y="800213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3836399" y="2456272"/>
              </a:moveTo>
              <a:arcTo wR="1951418" hR="1951418" stAng="22499617" swAng="428526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6D01E9-C592-4F2E-AB82-072A02D0A479}">
      <dsp:nvSpPr>
        <dsp:cNvPr id="0" name=""/>
        <dsp:cNvSpPr/>
      </dsp:nvSpPr>
      <dsp:spPr>
        <a:xfrm>
          <a:off x="3655785" y="4564324"/>
          <a:ext cx="1817686" cy="52524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Innovazione sociale</a:t>
          </a:r>
          <a:endParaRPr lang="it-IT" sz="1300" kern="1200" dirty="0"/>
        </a:p>
      </dsp:txBody>
      <dsp:txXfrm>
        <a:off x="3681425" y="4589964"/>
        <a:ext cx="1766406" cy="473966"/>
      </dsp:txXfrm>
    </dsp:sp>
    <dsp:sp modelId="{F7BAADD9-C75B-4898-B52D-48E4B788C62A}">
      <dsp:nvSpPr>
        <dsp:cNvPr id="0" name=""/>
        <dsp:cNvSpPr/>
      </dsp:nvSpPr>
      <dsp:spPr>
        <a:xfrm>
          <a:off x="1351505" y="777483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1762600" y="3893680"/>
              </a:moveTo>
              <a:arcTo wR="1951418" hR="1951418" stAng="5733156" swAng="338441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86B33B-544F-4FEE-A7F7-198130F517DF}">
      <dsp:nvSpPr>
        <dsp:cNvPr id="0" name=""/>
        <dsp:cNvSpPr/>
      </dsp:nvSpPr>
      <dsp:spPr>
        <a:xfrm>
          <a:off x="864104" y="1955464"/>
          <a:ext cx="934072" cy="11814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Micro elettronica</a:t>
          </a:r>
          <a:endParaRPr lang="it-IT" sz="1300" kern="1200" dirty="0"/>
        </a:p>
      </dsp:txBody>
      <dsp:txXfrm>
        <a:off x="909702" y="2001062"/>
        <a:ext cx="842876" cy="1090300"/>
      </dsp:txXfrm>
    </dsp:sp>
    <dsp:sp modelId="{00526382-6092-453E-9B7B-82B351DD0AD1}">
      <dsp:nvSpPr>
        <dsp:cNvPr id="0" name=""/>
        <dsp:cNvSpPr/>
      </dsp:nvSpPr>
      <dsp:spPr>
        <a:xfrm>
          <a:off x="1798177" y="252786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100781" y="1332404"/>
              </a:moveTo>
              <a:arcTo wR="1951418" hR="1951418" stAng="11909665" swAng="422452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Modalità di lavoro (3)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3585872" y="-370214"/>
          <a:ext cx="4968544" cy="570897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Attenzione ai tempi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Comprendere come lavorare più che discutere del merito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Stare sul tema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Interventi operativi (escluse premesse)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Non sovrapporsi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Non ripetersi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5657" y="242545"/>
        <a:ext cx="5466430" cy="4483456"/>
      </dsp:txXfrm>
    </dsp:sp>
    <dsp:sp modelId="{4B75031E-EAE2-44AE-A204-79AAE3CD8BF2}">
      <dsp:nvSpPr>
        <dsp:cNvPr id="0" name=""/>
        <dsp:cNvSpPr/>
      </dsp:nvSpPr>
      <dsp:spPr>
        <a:xfrm>
          <a:off x="4359" y="0"/>
          <a:ext cx="3211298" cy="4963699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Le regole del confronto</a:t>
          </a:r>
          <a:endParaRPr lang="it-IT" sz="4400" b="1" kern="1200" dirty="0"/>
        </a:p>
      </dsp:txBody>
      <dsp:txXfrm>
        <a:off x="161122" y="156763"/>
        <a:ext cx="2897772" cy="4650173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Modalità di lavoro (4)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3585872" y="-370214"/>
          <a:ext cx="4968544" cy="570897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centrato sulle indicazione dei potenziali ambiti di specializzazione rispetto al tavolo tematico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giustificato dalle evidenze, dalle scoperte imprenditoriali e dalle conoscenze possedute dagli attori 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5657" y="242545"/>
        <a:ext cx="5466430" cy="4483456"/>
      </dsp:txXfrm>
    </dsp:sp>
    <dsp:sp modelId="{4B75031E-EAE2-44AE-A204-79AAE3CD8BF2}">
      <dsp:nvSpPr>
        <dsp:cNvPr id="0" name=""/>
        <dsp:cNvSpPr/>
      </dsp:nvSpPr>
      <dsp:spPr>
        <a:xfrm>
          <a:off x="4359" y="0"/>
          <a:ext cx="3211298" cy="4963699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Il </a:t>
          </a:r>
          <a:r>
            <a:rPr lang="it-IT" sz="4400" b="1" kern="1200" dirty="0" err="1" smtClean="0"/>
            <a:t>contributorichiesto</a:t>
          </a:r>
          <a:r>
            <a:rPr lang="it-IT" sz="4400" b="1" kern="1200" dirty="0" smtClean="0"/>
            <a:t> deve essere....</a:t>
          </a:r>
          <a:endParaRPr lang="it-IT" sz="4400" b="1" kern="1200" dirty="0"/>
        </a:p>
      </dsp:txBody>
      <dsp:txXfrm>
        <a:off x="161122" y="156763"/>
        <a:ext cx="2897772" cy="4650173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0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0"/>
          <a:ext cx="7272808" cy="36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b="1" kern="1200" dirty="0" smtClean="0">
              <a:solidFill>
                <a:schemeClr val="accent1">
                  <a:lumMod val="75000"/>
                </a:schemeClr>
              </a:solidFill>
            </a:rPr>
            <a:t>Avvio Tavoli Tematici</a:t>
          </a:r>
          <a:endParaRPr lang="it-IT" sz="17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0"/>
        <a:ext cx="7272808" cy="369332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0"/>
          <a:ext cx="712879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0"/>
          <a:ext cx="7128792" cy="36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b="1" kern="1200" dirty="0" smtClean="0">
              <a:solidFill>
                <a:schemeClr val="accent1">
                  <a:lumMod val="75000"/>
                </a:schemeClr>
              </a:solidFill>
            </a:rPr>
            <a:t>Ambiti di Specializzazione del Tavolo Tematico</a:t>
          </a:r>
          <a:endParaRPr lang="it-IT" sz="17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0"/>
        <a:ext cx="7128792" cy="369332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2A1584-12A4-45C1-ACD7-958A7385C148}">
      <dsp:nvSpPr>
        <dsp:cNvPr id="0" name=""/>
        <dsp:cNvSpPr/>
      </dsp:nvSpPr>
      <dsp:spPr>
        <a:xfrm>
          <a:off x="344249" y="146854"/>
          <a:ext cx="1730971" cy="1730971"/>
        </a:xfrm>
        <a:prstGeom prst="pie">
          <a:avLst>
            <a:gd name="adj1" fmla="val 16200000"/>
            <a:gd name="adj2" fmla="val 54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Primo progress</a:t>
          </a:r>
          <a:endParaRPr lang="it-IT" sz="1300" kern="1200" dirty="0"/>
        </a:p>
      </dsp:txBody>
      <dsp:txXfrm>
        <a:off x="1290101" y="600204"/>
        <a:ext cx="618204" cy="824272"/>
      </dsp:txXfrm>
    </dsp:sp>
    <dsp:sp modelId="{911D987E-41D9-4858-92D0-BAC1D4352876}">
      <dsp:nvSpPr>
        <dsp:cNvPr id="0" name=""/>
        <dsp:cNvSpPr/>
      </dsp:nvSpPr>
      <dsp:spPr>
        <a:xfrm>
          <a:off x="261822" y="146854"/>
          <a:ext cx="1730971" cy="1730971"/>
        </a:xfrm>
        <a:prstGeom prst="pie">
          <a:avLst>
            <a:gd name="adj1" fmla="val 5400000"/>
            <a:gd name="adj2" fmla="val 162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Secondo progress</a:t>
          </a:r>
          <a:endParaRPr lang="it-IT" sz="1300" kern="1200" dirty="0"/>
        </a:p>
      </dsp:txBody>
      <dsp:txXfrm>
        <a:off x="428737" y="600204"/>
        <a:ext cx="618204" cy="824272"/>
      </dsp:txXfrm>
    </dsp:sp>
    <dsp:sp modelId="{091889A5-5D1D-4DA7-941E-C8B05D965E22}">
      <dsp:nvSpPr>
        <dsp:cNvPr id="0" name=""/>
        <dsp:cNvSpPr/>
      </dsp:nvSpPr>
      <dsp:spPr>
        <a:xfrm>
          <a:off x="237094" y="39699"/>
          <a:ext cx="1945281" cy="1945281"/>
        </a:xfrm>
        <a:prstGeom prst="circularArrow">
          <a:avLst>
            <a:gd name="adj1" fmla="val 5085"/>
            <a:gd name="adj2" fmla="val 327528"/>
            <a:gd name="adj3" fmla="val 5072472"/>
            <a:gd name="adj4" fmla="val 16200000"/>
            <a:gd name="adj5" fmla="val 5932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A0F59F-4621-418C-96D7-0810ADA847CA}">
      <dsp:nvSpPr>
        <dsp:cNvPr id="0" name=""/>
        <dsp:cNvSpPr/>
      </dsp:nvSpPr>
      <dsp:spPr>
        <a:xfrm>
          <a:off x="154666" y="39699"/>
          <a:ext cx="1945281" cy="1945281"/>
        </a:xfrm>
        <a:prstGeom prst="circularArrow">
          <a:avLst>
            <a:gd name="adj1" fmla="val 5085"/>
            <a:gd name="adj2" fmla="val 327528"/>
            <a:gd name="adj3" fmla="val 15872472"/>
            <a:gd name="adj4" fmla="val 5400000"/>
            <a:gd name="adj5" fmla="val 5932"/>
          </a:avLst>
        </a:prstGeom>
        <a:solidFill>
          <a:schemeClr val="accent6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2340748" y="-395555"/>
          <a:ext cx="3040486" cy="3943311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Referenti </a:t>
          </a:r>
          <a:r>
            <a:rPr lang="it-IT" sz="2000" b="0" kern="1200" dirty="0" err="1" smtClean="0">
              <a:solidFill>
                <a:schemeClr val="accent1"/>
              </a:solidFill>
            </a:rPr>
            <a:t>GdL</a:t>
          </a:r>
          <a:r>
            <a:rPr lang="it-IT" sz="2000" b="0" kern="1200" dirty="0" smtClean="0">
              <a:solidFill>
                <a:schemeClr val="accent1"/>
              </a:solidFill>
            </a:rPr>
            <a:t> </a:t>
          </a:r>
          <a:r>
            <a:rPr lang="it-IT" sz="2000" b="0" kern="1200" dirty="0" err="1" smtClean="0">
              <a:solidFill>
                <a:schemeClr val="accent1"/>
              </a:solidFill>
            </a:rPr>
            <a:t>interdiscipinare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Referenti Dipartimenti regionali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Esperti nazionali </a:t>
          </a:r>
          <a:r>
            <a:rPr lang="it-IT" sz="2000" b="0" kern="1200" dirty="0" err="1" smtClean="0">
              <a:solidFill>
                <a:schemeClr val="accent1"/>
              </a:solidFill>
            </a:rPr>
            <a:t>MiSE</a:t>
          </a:r>
          <a:r>
            <a:rPr lang="it-IT" sz="2000" b="0" kern="1200" dirty="0" smtClean="0">
              <a:solidFill>
                <a:schemeClr val="accent1"/>
              </a:solidFill>
            </a:rPr>
            <a:t> - MIUR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Facilitatori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rgbClr val="FF0000"/>
              </a:solidFill>
            </a:rPr>
            <a:t>Attori del territorio portatori di conoscenze e competenze che hanno inviato il modulo di adesione  </a:t>
          </a:r>
          <a:endParaRPr lang="it-IT" sz="2000" b="0" kern="1200" dirty="0">
            <a:solidFill>
              <a:srgbClr val="FF0000"/>
            </a:solidFill>
          </a:endParaRPr>
        </a:p>
      </dsp:txBody>
      <dsp:txXfrm rot="-5400000">
        <a:off x="1889336" y="204281"/>
        <a:ext cx="3794887" cy="2743638"/>
      </dsp:txXfrm>
    </dsp:sp>
    <dsp:sp modelId="{4B75031E-EAE2-44AE-A204-79AAE3CD8BF2}">
      <dsp:nvSpPr>
        <dsp:cNvPr id="0" name=""/>
        <dsp:cNvSpPr/>
      </dsp:nvSpPr>
      <dsp:spPr>
        <a:xfrm>
          <a:off x="0" y="3023"/>
          <a:ext cx="1885074" cy="3093320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kern="1200" dirty="0" smtClean="0"/>
            <a:t>TAVOLO </a:t>
          </a:r>
          <a:r>
            <a:rPr lang="it-IT" altLang="it-IT" sz="2400" b="1" kern="1200" dirty="0" smtClean="0">
              <a:solidFill>
                <a:schemeClr val="bg1"/>
              </a:solidFill>
              <a:latin typeface="Neo Sans Std Medium" pitchFamily="34" charset="0"/>
            </a:rPr>
            <a:t>SCIENZE DELLA VITA</a:t>
          </a:r>
          <a:endParaRPr lang="it-IT" sz="2400" b="1" kern="1200" dirty="0">
            <a:solidFill>
              <a:schemeClr val="bg1"/>
            </a:solidFill>
          </a:endParaRPr>
        </a:p>
      </dsp:txBody>
      <dsp:txXfrm>
        <a:off x="92022" y="95045"/>
        <a:ext cx="1701030" cy="2909276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93C6C5-800F-4AD0-9287-91F0CE3F8018}">
      <dsp:nvSpPr>
        <dsp:cNvPr id="0" name=""/>
        <dsp:cNvSpPr/>
      </dsp:nvSpPr>
      <dsp:spPr>
        <a:xfrm>
          <a:off x="0" y="0"/>
          <a:ext cx="2781300" cy="34764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743BFD-89FA-49AE-B8B8-5B451728DC2D}">
      <dsp:nvSpPr>
        <dsp:cNvPr id="0" name=""/>
        <dsp:cNvSpPr/>
      </dsp:nvSpPr>
      <dsp:spPr>
        <a:xfrm>
          <a:off x="83438" y="46353"/>
          <a:ext cx="2614422" cy="254941"/>
        </a:xfrm>
        <a:prstGeom prst="roundRect">
          <a:avLst>
            <a:gd name="adj" fmla="val 10000"/>
          </a:avLst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7DCA96-203E-4FCF-BFE0-43C97B4D268A}">
      <dsp:nvSpPr>
        <dsp:cNvPr id="0" name=""/>
        <dsp:cNvSpPr/>
      </dsp:nvSpPr>
      <dsp:spPr>
        <a:xfrm rot="10800000">
          <a:off x="83438" y="347647"/>
          <a:ext cx="2614422" cy="424902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TIME LINE RICERCA ED ANALISI </a:t>
          </a:r>
          <a:endParaRPr lang="it-IT" sz="1400" b="1" kern="1200" dirty="0"/>
        </a:p>
      </dsp:txBody>
      <dsp:txXfrm rot="10800000">
        <a:off x="96505" y="347647"/>
        <a:ext cx="2588288" cy="411835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0"/>
          <a:ext cx="876863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0"/>
          <a:ext cx="8768630" cy="7200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u="none" strike="noStrike" kern="1200" dirty="0" smtClean="0">
              <a:solidFill>
                <a:schemeClr val="accent1">
                  <a:lumMod val="75000"/>
                </a:schemeClr>
              </a:solidFill>
              <a:effectLst/>
            </a:rPr>
            <a:t>A che punto è la definizione della RIS 3 Sicilia: percorso svolto</a:t>
          </a:r>
          <a:endParaRPr lang="it-IT" sz="24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0"/>
        <a:ext cx="8768630" cy="720080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A28F2D-F759-4636-ACBD-8466D60D4E17}">
      <dsp:nvSpPr>
        <dsp:cNvPr id="0" name=""/>
        <dsp:cNvSpPr/>
      </dsp:nvSpPr>
      <dsp:spPr>
        <a:xfrm rot="5400000">
          <a:off x="287472" y="1524722"/>
          <a:ext cx="1149296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1061A77-D165-43D5-9ED8-B5EB9DDB2753}">
      <dsp:nvSpPr>
        <dsp:cNvPr id="0" name=""/>
        <dsp:cNvSpPr/>
      </dsp:nvSpPr>
      <dsp:spPr>
        <a:xfrm>
          <a:off x="191499" y="490550"/>
          <a:ext cx="1866106" cy="12584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1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rgbClr val="FF0000"/>
              </a:solidFill>
            </a:rPr>
            <a:t>Azione di feedback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rgbClr val="FF0000"/>
              </a:solidFill>
            </a:rPr>
            <a:t>    e di restituzion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rgbClr val="FF0000"/>
              </a:solidFill>
            </a:rPr>
            <a:t>    (Laboratorio)</a:t>
          </a:r>
          <a:endParaRPr lang="it-IT" sz="1400" b="1" i="0" kern="1200" dirty="0">
            <a:solidFill>
              <a:srgbClr val="FF0000"/>
            </a:solidFill>
          </a:endParaRPr>
        </a:p>
      </dsp:txBody>
      <dsp:txXfrm>
        <a:off x="228357" y="527408"/>
        <a:ext cx="1792390" cy="1184711"/>
      </dsp:txXfrm>
    </dsp:sp>
    <dsp:sp modelId="{AFE62B99-C380-4A7D-A81E-0B836ACE2D97}">
      <dsp:nvSpPr>
        <dsp:cNvPr id="0" name=""/>
        <dsp:cNvSpPr/>
      </dsp:nvSpPr>
      <dsp:spPr>
        <a:xfrm rot="5400000">
          <a:off x="276473" y="2690821"/>
          <a:ext cx="1171293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AD84E32-EB4D-4F6E-9190-AC855B3EA2A5}">
      <dsp:nvSpPr>
        <dsp:cNvPr id="0" name=""/>
        <dsp:cNvSpPr/>
      </dsp:nvSpPr>
      <dsp:spPr>
        <a:xfrm>
          <a:off x="46940" y="1881164"/>
          <a:ext cx="2155223" cy="79083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2.Individuazione ambiti di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</a:t>
          </a:r>
          <a:r>
            <a:rPr lang="it-IT" sz="1400" b="1" kern="1200" dirty="0" err="1" smtClean="0">
              <a:solidFill>
                <a:schemeClr val="accent1"/>
              </a:solidFill>
            </a:rPr>
            <a:t>governance</a:t>
          </a:r>
          <a:r>
            <a:rPr lang="it-IT" sz="1400" b="1" kern="1200" dirty="0" smtClean="0">
              <a:solidFill>
                <a:schemeClr val="accent1"/>
              </a:solidFill>
            </a:rPr>
            <a:t> territoriale</a:t>
          </a:r>
          <a:endParaRPr lang="it-IT" sz="1400" b="1" kern="1200" dirty="0">
            <a:solidFill>
              <a:schemeClr val="accent1"/>
            </a:solidFill>
          </a:endParaRPr>
        </a:p>
      </dsp:txBody>
      <dsp:txXfrm>
        <a:off x="70103" y="1904327"/>
        <a:ext cx="2108897" cy="744506"/>
      </dsp:txXfrm>
    </dsp:sp>
    <dsp:sp modelId="{2BCD11DB-F453-4B2F-B9D0-13AA9F8F954B}">
      <dsp:nvSpPr>
        <dsp:cNvPr id="0" name=""/>
        <dsp:cNvSpPr/>
      </dsp:nvSpPr>
      <dsp:spPr>
        <a:xfrm rot="122070">
          <a:off x="866152" y="3332772"/>
          <a:ext cx="2902618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4C33AB0-25CA-4969-A8C5-FD5F197A3E20}">
      <dsp:nvSpPr>
        <dsp:cNvPr id="0" name=""/>
        <dsp:cNvSpPr/>
      </dsp:nvSpPr>
      <dsp:spPr>
        <a:xfrm>
          <a:off x="1089" y="2804183"/>
          <a:ext cx="2246925" cy="130274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3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Condivisione dell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priorità</a:t>
          </a:r>
          <a:endParaRPr lang="it-IT" sz="1400" b="1" kern="1200" dirty="0">
            <a:solidFill>
              <a:schemeClr val="accent1"/>
            </a:solidFill>
          </a:endParaRPr>
        </a:p>
      </dsp:txBody>
      <dsp:txXfrm>
        <a:off x="39245" y="2842339"/>
        <a:ext cx="2170613" cy="1226434"/>
      </dsp:txXfrm>
    </dsp:sp>
    <dsp:sp modelId="{9D20F1A6-36D0-4E01-9A27-C5A6895D97F1}">
      <dsp:nvSpPr>
        <dsp:cNvPr id="0" name=""/>
        <dsp:cNvSpPr/>
      </dsp:nvSpPr>
      <dsp:spPr>
        <a:xfrm rot="16200000">
          <a:off x="3200876" y="2807394"/>
          <a:ext cx="1145753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5C7BDE0-612E-411D-8AB9-89A47964221E}">
      <dsp:nvSpPr>
        <dsp:cNvPr id="0" name=""/>
        <dsp:cNvSpPr/>
      </dsp:nvSpPr>
      <dsp:spPr>
        <a:xfrm>
          <a:off x="2697056" y="3010277"/>
          <a:ext cx="2678257" cy="10966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4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Formalizzazione della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condivisione (con appositi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strumenti) </a:t>
          </a:r>
          <a:endParaRPr lang="it-IT" sz="1400" b="1" kern="1200" dirty="0">
            <a:solidFill>
              <a:schemeClr val="accent1"/>
            </a:solidFill>
          </a:endParaRPr>
        </a:p>
      </dsp:txBody>
      <dsp:txXfrm>
        <a:off x="2729176" y="3042397"/>
        <a:ext cx="2614017" cy="1032412"/>
      </dsp:txXfrm>
    </dsp:sp>
    <dsp:sp modelId="{F38425E9-A09D-45A4-86DE-3B871D235AAB}">
      <dsp:nvSpPr>
        <dsp:cNvPr id="0" name=""/>
        <dsp:cNvSpPr/>
      </dsp:nvSpPr>
      <dsp:spPr>
        <a:xfrm rot="16200000">
          <a:off x="3139090" y="1592916"/>
          <a:ext cx="1269325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38DA9E9-3C12-47A7-AF1C-6EFA3B6BFACF}">
      <dsp:nvSpPr>
        <dsp:cNvPr id="0" name=""/>
        <dsp:cNvSpPr/>
      </dsp:nvSpPr>
      <dsp:spPr>
        <a:xfrm>
          <a:off x="2538824" y="1932621"/>
          <a:ext cx="2994720" cy="94546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5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Avvio  strategia per la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comunicazione</a:t>
          </a:r>
        </a:p>
      </dsp:txBody>
      <dsp:txXfrm>
        <a:off x="2566516" y="1960313"/>
        <a:ext cx="2939336" cy="890085"/>
      </dsp:txXfrm>
    </dsp:sp>
    <dsp:sp modelId="{A2DC82F0-E497-49EB-AA87-BC9FF86E52AE}">
      <dsp:nvSpPr>
        <dsp:cNvPr id="0" name=""/>
        <dsp:cNvSpPr/>
      </dsp:nvSpPr>
      <dsp:spPr>
        <a:xfrm rot="101335">
          <a:off x="3779040" y="996916"/>
          <a:ext cx="2958641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7A22B34-E67D-452E-B7A3-670E43080D52}">
      <dsp:nvSpPr>
        <dsp:cNvPr id="0" name=""/>
        <dsp:cNvSpPr/>
      </dsp:nvSpPr>
      <dsp:spPr>
        <a:xfrm>
          <a:off x="2689446" y="454813"/>
          <a:ext cx="2693476" cy="134562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6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Costituzione di  una Unità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tecnica con funzioni di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indirizzo e coordinamento,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monitoraggio e valutazion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della Strategia</a:t>
          </a:r>
        </a:p>
      </dsp:txBody>
      <dsp:txXfrm>
        <a:off x="2728858" y="494225"/>
        <a:ext cx="2614652" cy="1266798"/>
      </dsp:txXfrm>
    </dsp:sp>
    <dsp:sp modelId="{6C2FB6B5-23EA-4C6B-B472-9E5490D7D680}">
      <dsp:nvSpPr>
        <dsp:cNvPr id="0" name=""/>
        <dsp:cNvSpPr/>
      </dsp:nvSpPr>
      <dsp:spPr>
        <a:xfrm>
          <a:off x="5824354" y="454813"/>
          <a:ext cx="2350233" cy="153125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7.Costituzione del Gruppo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di Pilotaggio</a:t>
          </a:r>
        </a:p>
      </dsp:txBody>
      <dsp:txXfrm>
        <a:off x="5869203" y="499662"/>
        <a:ext cx="2260535" cy="1441561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37AE75-85E6-437A-8B56-910DD27A4ECE}">
      <dsp:nvSpPr>
        <dsp:cNvPr id="0" name=""/>
        <dsp:cNvSpPr/>
      </dsp:nvSpPr>
      <dsp:spPr>
        <a:xfrm>
          <a:off x="0" y="0"/>
          <a:ext cx="769690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D8CE0C5-97D0-41BA-B185-D747D53A47F7}">
      <dsp:nvSpPr>
        <dsp:cNvPr id="0" name=""/>
        <dsp:cNvSpPr/>
      </dsp:nvSpPr>
      <dsp:spPr>
        <a:xfrm>
          <a:off x="0" y="0"/>
          <a:ext cx="7696904" cy="797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2000" b="1" kern="1200" dirty="0">
            <a:solidFill>
              <a:srgbClr val="6699FF"/>
            </a:solidFill>
            <a:effectLst/>
            <a:latin typeface="Calibri" panose="020F0502020204030204" pitchFamily="34" charset="0"/>
          </a:endParaRPr>
        </a:p>
      </dsp:txBody>
      <dsp:txXfrm>
        <a:off x="0" y="0"/>
        <a:ext cx="7696904" cy="797627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93B85D-E7EC-43EB-AD43-BE75F7C562F8}">
      <dsp:nvSpPr>
        <dsp:cNvPr id="0" name=""/>
        <dsp:cNvSpPr/>
      </dsp:nvSpPr>
      <dsp:spPr>
        <a:xfrm>
          <a:off x="3427" y="0"/>
          <a:ext cx="3925820" cy="468052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COPERTA E CONDIVISIONE DI UNA DISTINTIVA SPECIALIZZAZIONE REGIONALE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Lettura delle </a:t>
          </a: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pecifiche caratteristiche del territorio</a:t>
          </a:r>
          <a:r>
            <a:rPr lang="it-IT" sz="1300" kern="1200" dirty="0" smtClean="0"/>
            <a:t> e </a:t>
          </a: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cesso di </a:t>
          </a:r>
          <a:r>
            <a:rPr lang="it-IT" sz="13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mpowerment</a:t>
          </a: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dei diversi attori regionali dell’innovazione. </a:t>
          </a:r>
          <a:endParaRPr lang="it-IT" sz="1300" kern="1200" dirty="0" smtClean="0"/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a RIS3 Sicilia intende l‘INNOVAZIONE come  un processo multidimensionale e altamente interattivo di collaborazione tra diversi attori</a:t>
          </a:r>
          <a:r>
            <a:rPr lang="it-IT" sz="1200" kern="1200" dirty="0" smtClean="0">
              <a:solidFill>
                <a:srgbClr val="FFFF00"/>
              </a:solidFill>
            </a:rPr>
            <a:t>.</a:t>
          </a:r>
          <a:endParaRPr lang="it-IT" sz="1200" kern="1200" dirty="0">
            <a:solidFill>
              <a:srgbClr val="FFFF00"/>
            </a:solidFill>
          </a:endParaRPr>
        </a:p>
      </dsp:txBody>
      <dsp:txXfrm>
        <a:off x="3427" y="1872208"/>
        <a:ext cx="3925820" cy="1872208"/>
      </dsp:txXfrm>
    </dsp:sp>
    <dsp:sp modelId="{D45867DB-5E57-4321-B95F-EF177612117D}">
      <dsp:nvSpPr>
        <dsp:cNvPr id="0" name=""/>
        <dsp:cNvSpPr/>
      </dsp:nvSpPr>
      <dsp:spPr>
        <a:xfrm>
          <a:off x="1187031" y="280831"/>
          <a:ext cx="1558613" cy="1558613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D4FB9A-CA69-4FE6-AE01-D6BD5549E131}">
      <dsp:nvSpPr>
        <dsp:cNvPr id="0" name=""/>
        <dsp:cNvSpPr/>
      </dsp:nvSpPr>
      <dsp:spPr>
        <a:xfrm>
          <a:off x="4050450" y="0"/>
          <a:ext cx="3925820" cy="468052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DIVIDUAZIONE DELLE LEVE CHE MUOVONO LO SVILUPPO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uolo chiave delle cosiddette tecnologie chiave abilitanti (Key Enabling Technologies – KETs). 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peramento dell’approccio basato sul tradizionale sostegno ai settori produttivi e alla ricerca </a:t>
          </a:r>
        </a:p>
      </dsp:txBody>
      <dsp:txXfrm>
        <a:off x="4050450" y="1872208"/>
        <a:ext cx="3925820" cy="1872208"/>
      </dsp:txXfrm>
    </dsp:sp>
    <dsp:sp modelId="{0884A0BC-1141-4228-BC39-52DFE7694685}">
      <dsp:nvSpPr>
        <dsp:cNvPr id="0" name=""/>
        <dsp:cNvSpPr/>
      </dsp:nvSpPr>
      <dsp:spPr>
        <a:xfrm>
          <a:off x="5224361" y="248739"/>
          <a:ext cx="1558613" cy="1558613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0E4646-191B-46B4-8568-08679650E7AC}">
      <dsp:nvSpPr>
        <dsp:cNvPr id="0" name=""/>
        <dsp:cNvSpPr/>
      </dsp:nvSpPr>
      <dsp:spPr>
        <a:xfrm>
          <a:off x="72525" y="3978442"/>
          <a:ext cx="7599188" cy="702078"/>
        </a:xfrm>
        <a:prstGeom prst="leftRightArrow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168C89-C16B-4E9B-8797-A4838073953D}">
      <dsp:nvSpPr>
        <dsp:cNvPr id="0" name=""/>
        <dsp:cNvSpPr/>
      </dsp:nvSpPr>
      <dsp:spPr>
        <a:xfrm>
          <a:off x="0" y="0"/>
          <a:ext cx="8693073" cy="18136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8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AFFORZARE IL SISTEMA PRODUTTIVO REGIONALE </a:t>
          </a:r>
          <a:endParaRPr lang="it-IT" sz="1800" b="1" u="none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  <a:p>
          <a:pPr lvl="0" algn="just" defTabSz="8001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APPROCCIO MULTIDIMENSIONALE </a:t>
          </a:r>
        </a:p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Potenziamento del ruolo dei sistemi innovativi locali più performanti nel presidio di alcune KETs e al contempo </a:t>
          </a:r>
          <a:r>
            <a:rPr lang="it-IT" sz="1400" b="1" u="none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nalzamento del valore di mercato del tessuto produttivo tradizionale</a:t>
          </a: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 con le maggiori prospettive di riconversione competitiva e di ricaduta occupazionale.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 Infine, facilitare e supportare il processo di scoperta imprenditoriale favorendo l’incontro tra gli imprenditori anche emergenti e l’offerta di ricerca.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sp:txBody>
      <dsp:txXfrm>
        <a:off x="1894926" y="0"/>
        <a:ext cx="6798146" cy="1813698"/>
      </dsp:txXfrm>
    </dsp:sp>
    <dsp:sp modelId="{56706EBC-49D7-45F7-BB65-A09CF00B3AFD}">
      <dsp:nvSpPr>
        <dsp:cNvPr id="0" name=""/>
        <dsp:cNvSpPr/>
      </dsp:nvSpPr>
      <dsp:spPr>
        <a:xfrm>
          <a:off x="156311" y="281602"/>
          <a:ext cx="1738614" cy="12504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F0A50A-EAFC-4B73-A2B3-D743262EC1EA}">
      <dsp:nvSpPr>
        <dsp:cNvPr id="0" name=""/>
        <dsp:cNvSpPr/>
      </dsp:nvSpPr>
      <dsp:spPr>
        <a:xfrm>
          <a:off x="0" y="1970009"/>
          <a:ext cx="8693073" cy="15631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OSTENERE LA DIFFUSIONE DI SOLUZIONI E SERVIZI INNOVATIVI </a:t>
          </a: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QUALITÀ DELLA VITA</a:t>
          </a: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crementare ed innalzare la diffusione di servizi e soluzioni innovative volti a favorire l’innalzamento della qualità della vita nei luoghi in cui si manifestano bisogni sociali , economici ed ambientali insoddisfatti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. 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sp:txBody>
      <dsp:txXfrm>
        <a:off x="1894926" y="1970009"/>
        <a:ext cx="6798146" cy="1563115"/>
      </dsp:txXfrm>
    </dsp:sp>
    <dsp:sp modelId="{14850E1F-B083-46EA-B8E5-E23BCE6F199B}">
      <dsp:nvSpPr>
        <dsp:cNvPr id="0" name=""/>
        <dsp:cNvSpPr/>
      </dsp:nvSpPr>
      <dsp:spPr>
        <a:xfrm>
          <a:off x="156311" y="2126321"/>
          <a:ext cx="1738614" cy="12504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8B2A6B-DCD5-4D44-B383-E5475A122E28}">
      <dsp:nvSpPr>
        <dsp:cNvPr id="0" name=""/>
        <dsp:cNvSpPr/>
      </dsp:nvSpPr>
      <dsp:spPr>
        <a:xfrm>
          <a:off x="0" y="3689436"/>
          <a:ext cx="8693073" cy="15631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it-IT" sz="16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MUOVERE LA PIÙ AMPIA DIFFUSIONE DELLA CULTURA DELL’INNOVAZIONE </a:t>
          </a:r>
        </a:p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CAPITALE UMANO</a:t>
          </a:r>
        </a:p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Ruolo abilitante del capitale umano mediante un’attività di formazione e informazione che con gli strumenti più adeguati coinvolga tutti i livelli della società, a partire dalla scuola sino ad arrivare alla pubblica amministrazione.</a:t>
          </a:r>
          <a:endParaRPr lang="it-IT" sz="14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</dsp:txBody>
      <dsp:txXfrm>
        <a:off x="1894926" y="3689436"/>
        <a:ext cx="6798146" cy="1563115"/>
      </dsp:txXfrm>
    </dsp:sp>
    <dsp:sp modelId="{03CAC9C2-748F-4326-A0C0-01022A85A403}">
      <dsp:nvSpPr>
        <dsp:cNvPr id="0" name=""/>
        <dsp:cNvSpPr/>
      </dsp:nvSpPr>
      <dsp:spPr>
        <a:xfrm>
          <a:off x="156311" y="3845747"/>
          <a:ext cx="1738614" cy="12504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2CEB5-124D-44F5-9096-E7ECAF2F2101}">
      <dsp:nvSpPr>
        <dsp:cNvPr id="0" name=""/>
        <dsp:cNvSpPr/>
      </dsp:nvSpPr>
      <dsp:spPr>
        <a:xfrm>
          <a:off x="1370522" y="355946"/>
          <a:ext cx="767715" cy="767715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524867" y="535780"/>
        <a:ext cx="459025" cy="394621"/>
      </dsp:txXfrm>
    </dsp:sp>
    <dsp:sp modelId="{48AC5F59-43C7-463B-9C6A-CEA2081E1C1C}">
      <dsp:nvSpPr>
        <dsp:cNvPr id="0" name=""/>
        <dsp:cNvSpPr/>
      </dsp:nvSpPr>
      <dsp:spPr>
        <a:xfrm>
          <a:off x="1002665" y="620375"/>
          <a:ext cx="558338" cy="558338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143228" y="761788"/>
        <a:ext cx="277212" cy="275512"/>
      </dsp:txXfrm>
    </dsp:sp>
    <dsp:sp modelId="{9C58820E-B88E-42EC-B94E-53580DE862F7}">
      <dsp:nvSpPr>
        <dsp:cNvPr id="0" name=""/>
        <dsp:cNvSpPr/>
      </dsp:nvSpPr>
      <dsp:spPr>
        <a:xfrm>
          <a:off x="1472100" y="251807"/>
          <a:ext cx="944290" cy="944290"/>
        </a:xfrm>
        <a:prstGeom prst="circularArrow">
          <a:avLst>
            <a:gd name="adj1" fmla="val 4878"/>
            <a:gd name="adj2" fmla="val 312630"/>
            <a:gd name="adj3" fmla="val 2770429"/>
            <a:gd name="adj4" fmla="val 15829649"/>
            <a:gd name="adj5" fmla="val 569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AF710-52C6-4140-9C37-87300CDE1B1A}">
      <dsp:nvSpPr>
        <dsp:cNvPr id="0" name=""/>
        <dsp:cNvSpPr/>
      </dsp:nvSpPr>
      <dsp:spPr>
        <a:xfrm>
          <a:off x="899274" y="573756"/>
          <a:ext cx="713975" cy="7139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318694-7D13-4394-9999-743EFAEC9488}">
      <dsp:nvSpPr>
        <dsp:cNvPr id="0" name=""/>
        <dsp:cNvSpPr/>
      </dsp:nvSpPr>
      <dsp:spPr>
        <a:xfrm>
          <a:off x="1286552" y="0"/>
          <a:ext cx="1114558" cy="309355"/>
        </a:xfrm>
        <a:prstGeom prst="homePlate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900" kern="1200" dirty="0" smtClean="0"/>
            <a:t>Verso il PO FESR 2014-2020</a:t>
          </a:r>
          <a:endParaRPr lang="it-IT" sz="900" kern="1200" dirty="0"/>
        </a:p>
      </dsp:txBody>
      <dsp:txXfrm>
        <a:off x="1286552" y="0"/>
        <a:ext cx="1037219" cy="309355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11C825-4C01-4010-80E5-94DE88871CFE}">
      <dsp:nvSpPr>
        <dsp:cNvPr id="0" name=""/>
        <dsp:cNvSpPr/>
      </dsp:nvSpPr>
      <dsp:spPr>
        <a:xfrm rot="16200000">
          <a:off x="1515000" y="-398839"/>
          <a:ext cx="930483" cy="3988118"/>
        </a:xfrm>
        <a:prstGeom prst="downArrow">
          <a:avLst>
            <a:gd name="adj1" fmla="val 50000"/>
            <a:gd name="adj2" fmla="val 3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“</a:t>
          </a:r>
          <a:r>
            <a:rPr lang="it-IT" sz="14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ission </a:t>
          </a:r>
          <a:r>
            <a:rPr lang="it-IT" sz="1400" b="1" i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</a:t>
          </a:r>
        </a:p>
      </dsp:txBody>
      <dsp:txXfrm rot="5400000">
        <a:off x="-13817" y="1362599"/>
        <a:ext cx="3825283" cy="465241"/>
      </dsp:txXfrm>
    </dsp:sp>
    <dsp:sp modelId="{DBF43435-E534-4CA2-9BEB-93585D8D69F7}">
      <dsp:nvSpPr>
        <dsp:cNvPr id="0" name=""/>
        <dsp:cNvSpPr/>
      </dsp:nvSpPr>
      <dsp:spPr>
        <a:xfrm rot="5400000">
          <a:off x="5688990" y="-437927"/>
          <a:ext cx="985227" cy="3988118"/>
        </a:xfrm>
        <a:prstGeom prst="downArrow">
          <a:avLst>
            <a:gd name="adj1" fmla="val 50000"/>
            <a:gd name="adj2" fmla="val 35000"/>
          </a:avLst>
        </a:prstGeom>
        <a:solidFill>
          <a:srgbClr val="00C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“</a:t>
          </a:r>
          <a:r>
            <a:rPr lang="it-IT" sz="1400" b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iffusion</a:t>
          </a: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it-IT" sz="1400" b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 </a:t>
          </a:r>
        </a:p>
      </dsp:txBody>
      <dsp:txXfrm rot="-5400000">
        <a:off x="4359960" y="1309825"/>
        <a:ext cx="3815703" cy="4926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Perché siamo qui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3E03EB-8615-4699-A45B-B57E780F0332}">
      <dsp:nvSpPr>
        <dsp:cNvPr id="0" name=""/>
        <dsp:cNvSpPr/>
      </dsp:nvSpPr>
      <dsp:spPr>
        <a:xfrm>
          <a:off x="1332" y="772064"/>
          <a:ext cx="3653126" cy="42977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2C7311-6F60-41E3-801D-0A7CE5665F13}">
      <dsp:nvSpPr>
        <dsp:cNvPr id="0" name=""/>
        <dsp:cNvSpPr/>
      </dsp:nvSpPr>
      <dsp:spPr>
        <a:xfrm>
          <a:off x="1332" y="933472"/>
          <a:ext cx="268371" cy="268371"/>
        </a:xfrm>
        <a:prstGeom prst="rect">
          <a:avLst/>
        </a:prstGeom>
        <a:solidFill>
          <a:srgbClr val="33CC33">
            <a:alpha val="90000"/>
          </a:srgb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B3687A-029B-4B9E-A768-51742B3B318E}">
      <dsp:nvSpPr>
        <dsp:cNvPr id="0" name=""/>
        <dsp:cNvSpPr/>
      </dsp:nvSpPr>
      <dsp:spPr>
        <a:xfrm>
          <a:off x="1332" y="0"/>
          <a:ext cx="3653126" cy="7720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>
              <a:solidFill>
                <a:schemeClr val="accent6">
                  <a:lumMod val="75000"/>
                </a:schemeClr>
              </a:solidFill>
            </a:rPr>
            <a:t>finalizzati ad un diffuso innesto di innovazioni, anche non di natura tecnologica, nel sistema economico e sociale e rivolti ad un’ampia platea di beneficiari </a:t>
          </a: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600" b="1" kern="1200" dirty="0"/>
        </a:p>
      </dsp:txBody>
      <dsp:txXfrm>
        <a:off x="1332" y="0"/>
        <a:ext cx="3653126" cy="772064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1D0415-9388-4E4F-9160-2793C0F671EE}">
      <dsp:nvSpPr>
        <dsp:cNvPr id="0" name=""/>
        <dsp:cNvSpPr/>
      </dsp:nvSpPr>
      <dsp:spPr>
        <a:xfrm>
          <a:off x="1695" y="842150"/>
          <a:ext cx="3984743" cy="46879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E0879E-6F98-4834-B869-D3EE0F5BDB55}">
      <dsp:nvSpPr>
        <dsp:cNvPr id="0" name=""/>
        <dsp:cNvSpPr/>
      </dsp:nvSpPr>
      <dsp:spPr>
        <a:xfrm>
          <a:off x="1695" y="1018209"/>
          <a:ext cx="292733" cy="292733"/>
        </a:xfrm>
        <a:prstGeom prst="rect">
          <a:avLst/>
        </a:prstGeom>
        <a:solidFill>
          <a:schemeClr val="accent2"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966723-4AA0-486E-A4AA-943FAAF5ED21}">
      <dsp:nvSpPr>
        <dsp:cNvPr id="0" name=""/>
        <dsp:cNvSpPr/>
      </dsp:nvSpPr>
      <dsp:spPr>
        <a:xfrm>
          <a:off x="1695" y="0"/>
          <a:ext cx="3984743" cy="842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lvl="0" algn="just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b="1" kern="1200" dirty="0" smtClean="0">
              <a:solidFill>
                <a:schemeClr val="accent2"/>
              </a:solidFill>
            </a:rPr>
            <a:t>finalizzati al sostegno mirato a programmi ambiziosi di carattere strategico sotto il profilo dell’impatto sul contesto regionale</a:t>
          </a:r>
          <a:endParaRPr lang="it-IT" sz="1700" b="1" kern="1200" dirty="0">
            <a:solidFill>
              <a:schemeClr val="accent2"/>
            </a:solidFill>
          </a:endParaRPr>
        </a:p>
      </dsp:txBody>
      <dsp:txXfrm>
        <a:off x="1695" y="0"/>
        <a:ext cx="3984743" cy="842150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2CEB5-124D-44F5-9096-E7ECAF2F2101}">
      <dsp:nvSpPr>
        <dsp:cNvPr id="0" name=""/>
        <dsp:cNvSpPr/>
      </dsp:nvSpPr>
      <dsp:spPr>
        <a:xfrm>
          <a:off x="1370522" y="355946"/>
          <a:ext cx="767715" cy="767715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524867" y="535780"/>
        <a:ext cx="459025" cy="394621"/>
      </dsp:txXfrm>
    </dsp:sp>
    <dsp:sp modelId="{48AC5F59-43C7-463B-9C6A-CEA2081E1C1C}">
      <dsp:nvSpPr>
        <dsp:cNvPr id="0" name=""/>
        <dsp:cNvSpPr/>
      </dsp:nvSpPr>
      <dsp:spPr>
        <a:xfrm>
          <a:off x="1002665" y="620375"/>
          <a:ext cx="558338" cy="558338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143228" y="761788"/>
        <a:ext cx="277212" cy="275512"/>
      </dsp:txXfrm>
    </dsp:sp>
    <dsp:sp modelId="{9C58820E-B88E-42EC-B94E-53580DE862F7}">
      <dsp:nvSpPr>
        <dsp:cNvPr id="0" name=""/>
        <dsp:cNvSpPr/>
      </dsp:nvSpPr>
      <dsp:spPr>
        <a:xfrm>
          <a:off x="1472100" y="251807"/>
          <a:ext cx="944290" cy="944290"/>
        </a:xfrm>
        <a:prstGeom prst="circularArrow">
          <a:avLst>
            <a:gd name="adj1" fmla="val 4878"/>
            <a:gd name="adj2" fmla="val 312630"/>
            <a:gd name="adj3" fmla="val 2770429"/>
            <a:gd name="adj4" fmla="val 15829649"/>
            <a:gd name="adj5" fmla="val 569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AF710-52C6-4140-9C37-87300CDE1B1A}">
      <dsp:nvSpPr>
        <dsp:cNvPr id="0" name=""/>
        <dsp:cNvSpPr/>
      </dsp:nvSpPr>
      <dsp:spPr>
        <a:xfrm>
          <a:off x="899274" y="573756"/>
          <a:ext cx="713975" cy="7139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2CEB5-124D-44F5-9096-E7ECAF2F2101}">
      <dsp:nvSpPr>
        <dsp:cNvPr id="0" name=""/>
        <dsp:cNvSpPr/>
      </dsp:nvSpPr>
      <dsp:spPr>
        <a:xfrm>
          <a:off x="1370522" y="355946"/>
          <a:ext cx="767715" cy="767715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524867" y="535780"/>
        <a:ext cx="459025" cy="394621"/>
      </dsp:txXfrm>
    </dsp:sp>
    <dsp:sp modelId="{48AC5F59-43C7-463B-9C6A-CEA2081E1C1C}">
      <dsp:nvSpPr>
        <dsp:cNvPr id="0" name=""/>
        <dsp:cNvSpPr/>
      </dsp:nvSpPr>
      <dsp:spPr>
        <a:xfrm>
          <a:off x="1002665" y="620375"/>
          <a:ext cx="558338" cy="558338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143228" y="761788"/>
        <a:ext cx="277212" cy="275512"/>
      </dsp:txXfrm>
    </dsp:sp>
    <dsp:sp modelId="{9C58820E-B88E-42EC-B94E-53580DE862F7}">
      <dsp:nvSpPr>
        <dsp:cNvPr id="0" name=""/>
        <dsp:cNvSpPr/>
      </dsp:nvSpPr>
      <dsp:spPr>
        <a:xfrm>
          <a:off x="1472100" y="251807"/>
          <a:ext cx="944290" cy="944290"/>
        </a:xfrm>
        <a:prstGeom prst="circularArrow">
          <a:avLst>
            <a:gd name="adj1" fmla="val 4878"/>
            <a:gd name="adj2" fmla="val 312630"/>
            <a:gd name="adj3" fmla="val 2770429"/>
            <a:gd name="adj4" fmla="val 15829649"/>
            <a:gd name="adj5" fmla="val 569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AF710-52C6-4140-9C37-87300CDE1B1A}">
      <dsp:nvSpPr>
        <dsp:cNvPr id="0" name=""/>
        <dsp:cNvSpPr/>
      </dsp:nvSpPr>
      <dsp:spPr>
        <a:xfrm>
          <a:off x="899274" y="573756"/>
          <a:ext cx="713975" cy="7139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318694-7D13-4394-9999-743EFAEC9488}">
      <dsp:nvSpPr>
        <dsp:cNvPr id="0" name=""/>
        <dsp:cNvSpPr/>
      </dsp:nvSpPr>
      <dsp:spPr>
        <a:xfrm>
          <a:off x="1286552" y="0"/>
          <a:ext cx="1114558" cy="309355"/>
        </a:xfrm>
        <a:prstGeom prst="homePlate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900" kern="1200" dirty="0" smtClean="0"/>
            <a:t>Verso il PO FESR 2014-2020</a:t>
          </a:r>
          <a:endParaRPr lang="it-IT" sz="900" kern="1200" dirty="0"/>
        </a:p>
      </dsp:txBody>
      <dsp:txXfrm>
        <a:off x="1286552" y="0"/>
        <a:ext cx="1037219" cy="309355"/>
      </dsp:txXfrm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145999-397C-4B26-80C5-A6DCCF277918}">
      <dsp:nvSpPr>
        <dsp:cNvPr id="0" name=""/>
        <dsp:cNvSpPr/>
      </dsp:nvSpPr>
      <dsp:spPr>
        <a:xfrm>
          <a:off x="0" y="428102"/>
          <a:ext cx="2328063" cy="2350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Mission Oriented </a:t>
          </a:r>
          <a:endParaRPr lang="it-IT" sz="1100" kern="1200" dirty="0"/>
        </a:p>
      </dsp:txBody>
      <dsp:txXfrm>
        <a:off x="11472" y="439574"/>
        <a:ext cx="2305119" cy="212059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145999-397C-4B26-80C5-A6DCCF277918}">
      <dsp:nvSpPr>
        <dsp:cNvPr id="0" name=""/>
        <dsp:cNvSpPr/>
      </dsp:nvSpPr>
      <dsp:spPr>
        <a:xfrm>
          <a:off x="0" y="282247"/>
          <a:ext cx="2262021" cy="2350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Diffusion  Oriented </a:t>
          </a:r>
          <a:endParaRPr lang="it-IT" sz="1100" kern="1200" dirty="0"/>
        </a:p>
      </dsp:txBody>
      <dsp:txXfrm>
        <a:off x="11472" y="293719"/>
        <a:ext cx="2239077" cy="212059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7FC795-A476-4946-BE97-EF1BF71309EC}">
      <dsp:nvSpPr>
        <dsp:cNvPr id="0" name=""/>
        <dsp:cNvSpPr/>
      </dsp:nvSpPr>
      <dsp:spPr>
        <a:xfrm>
          <a:off x="0" y="77687"/>
          <a:ext cx="2221610" cy="397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kern="1200" dirty="0" smtClean="0"/>
            <a:t>Rafforzamento competenze scientifiche e produttive legate alle KETs </a:t>
          </a:r>
          <a:endParaRPr lang="it-IT" sz="1000" kern="1200" dirty="0"/>
        </a:p>
      </dsp:txBody>
      <dsp:txXfrm>
        <a:off x="19419" y="97106"/>
        <a:ext cx="2182772" cy="358962"/>
      </dsp:txXfrm>
    </dsp:sp>
  </dsp:spTree>
</dsp:drawing>
</file>

<file path=ppt/diagrams/drawing3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320C9-9B3C-43B0-ABDA-0630C0911D53}">
      <dsp:nvSpPr>
        <dsp:cNvPr id="0" name=""/>
        <dsp:cNvSpPr/>
      </dsp:nvSpPr>
      <dsp:spPr>
        <a:xfrm>
          <a:off x="0" y="0"/>
          <a:ext cx="2221610" cy="6048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Applicazioni delle KET s ai settori esistenti con maggiori potenzialità di sviluppo competitivo</a:t>
          </a:r>
          <a:endParaRPr lang="it-IT" sz="1100" kern="1200" dirty="0"/>
        </a:p>
      </dsp:txBody>
      <dsp:txXfrm>
        <a:off x="29528" y="29528"/>
        <a:ext cx="2162554" cy="545834"/>
      </dsp:txXfrm>
    </dsp:sp>
  </dsp:spTree>
</dsp:drawing>
</file>

<file path=ppt/diagrams/drawing3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E72158-CB87-4623-BAB3-0A89D8A44D36}">
      <dsp:nvSpPr>
        <dsp:cNvPr id="0" name=""/>
        <dsp:cNvSpPr/>
      </dsp:nvSpPr>
      <dsp:spPr>
        <a:xfrm>
          <a:off x="0" y="242"/>
          <a:ext cx="2221610" cy="397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kern="1200" dirty="0" smtClean="0"/>
            <a:t>Creazione di un nuovo tessuto produttivo innovation based</a:t>
          </a:r>
          <a:endParaRPr lang="it-IT" sz="1000" kern="1200" dirty="0"/>
        </a:p>
      </dsp:txBody>
      <dsp:txXfrm>
        <a:off x="19419" y="19661"/>
        <a:ext cx="2182772" cy="3589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4086234" y="-577148"/>
          <a:ext cx="3970959" cy="571455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I partecipanti al tavolo hanno il compito di </a:t>
          </a:r>
          <a:r>
            <a:rPr lang="it-IT" sz="3600" b="0" u="sng" kern="1200" dirty="0" smtClean="0">
              <a:solidFill>
                <a:srgbClr val="FF0000"/>
              </a:solidFill>
            </a:rPr>
            <a:t>condividere e fornire  conoscenze </a:t>
          </a:r>
          <a:r>
            <a:rPr lang="it-IT" sz="3600" b="0" kern="1200" dirty="0" smtClean="0">
              <a:solidFill>
                <a:schemeClr val="accent1"/>
              </a:solidFill>
            </a:rPr>
            <a:t>in termini di analisi, diagnosi, </a:t>
          </a:r>
          <a:r>
            <a:rPr lang="it-IT" sz="3600" b="0" kern="1200" dirty="0" err="1" smtClean="0">
              <a:solidFill>
                <a:schemeClr val="accent1"/>
              </a:solidFill>
            </a:rPr>
            <a:t>vision</a:t>
          </a:r>
          <a:r>
            <a:rPr lang="it-IT" sz="3600" b="0" kern="1200" dirty="0" smtClean="0">
              <a:solidFill>
                <a:schemeClr val="accent1"/>
              </a:solidFill>
            </a:rPr>
            <a:t> per </a:t>
          </a:r>
          <a:r>
            <a:rPr lang="it-IT" sz="3600" b="0" u="sng" kern="1200" dirty="0" smtClean="0">
              <a:solidFill>
                <a:srgbClr val="FF0000"/>
              </a:solidFill>
            </a:rPr>
            <a:t>completare</a:t>
          </a:r>
          <a:r>
            <a:rPr lang="it-IT" sz="3600" b="0" kern="1200" dirty="0" smtClean="0">
              <a:solidFill>
                <a:schemeClr val="accent1"/>
              </a:solidFill>
            </a:rPr>
            <a:t>  la definizione della RIS 3 Sicilia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4437" y="488495"/>
        <a:ext cx="5520708" cy="3583267"/>
      </dsp:txXfrm>
    </dsp:sp>
    <dsp:sp modelId="{4B75031E-EAE2-44AE-A204-79AAE3CD8BF2}">
      <dsp:nvSpPr>
        <dsp:cNvPr id="0" name=""/>
        <dsp:cNvSpPr/>
      </dsp:nvSpPr>
      <dsp:spPr>
        <a:xfrm>
          <a:off x="0" y="0"/>
          <a:ext cx="3214437" cy="4963699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210" tIns="78105" rIns="156210" bIns="78105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100" b="1" kern="1200" dirty="0" smtClean="0"/>
            <a:t>APPROCCIO BOTTOM UP</a:t>
          </a:r>
          <a:endParaRPr lang="it-IT" sz="4100" b="1" kern="1200" dirty="0"/>
        </a:p>
      </dsp:txBody>
      <dsp:txXfrm>
        <a:off x="156916" y="156916"/>
        <a:ext cx="2900605" cy="4649867"/>
      </dsp:txXfrm>
    </dsp:sp>
  </dsp:spTree>
</dsp:drawing>
</file>

<file path=ppt/diagrams/drawing4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4CACD3-EE37-4975-9E62-2F328C6C370E}">
      <dsp:nvSpPr>
        <dsp:cNvPr id="0" name=""/>
        <dsp:cNvSpPr/>
      </dsp:nvSpPr>
      <dsp:spPr>
        <a:xfrm>
          <a:off x="0" y="2"/>
          <a:ext cx="2221610" cy="7850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Sostegno all’uso diffuso delle Innovazioni  (anche non </a:t>
          </a:r>
          <a:r>
            <a:rPr lang="it-IT" sz="1100" kern="1200" dirty="0" err="1" smtClean="0"/>
            <a:t>tech</a:t>
          </a:r>
          <a:r>
            <a:rPr lang="it-IT" sz="1100" kern="1200" dirty="0" smtClean="0"/>
            <a:t>) in risposta alle sfide sociali emergenti negli ambienti urbani e marginali</a:t>
          </a:r>
          <a:endParaRPr lang="it-IT" sz="1100" kern="1200" dirty="0"/>
        </a:p>
      </dsp:txBody>
      <dsp:txXfrm>
        <a:off x="38324" y="38326"/>
        <a:ext cx="2144962" cy="708422"/>
      </dsp:txXfrm>
    </dsp:sp>
  </dsp:spTree>
</dsp:drawing>
</file>

<file path=ppt/diagrams/drawing4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6AD86E-5163-40B0-AE34-CC51738A6EFB}">
      <dsp:nvSpPr>
        <dsp:cNvPr id="0" name=""/>
        <dsp:cNvSpPr/>
      </dsp:nvSpPr>
      <dsp:spPr>
        <a:xfrm>
          <a:off x="0" y="0"/>
          <a:ext cx="2221610" cy="397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kern="1200" dirty="0" smtClean="0"/>
            <a:t>Sostegno a nuove categorie di innovatori sociali e di creativi  culturali </a:t>
          </a:r>
          <a:endParaRPr lang="it-IT" sz="1000" kern="1200" dirty="0"/>
        </a:p>
      </dsp:txBody>
      <dsp:txXfrm>
        <a:off x="19419" y="19419"/>
        <a:ext cx="2182772" cy="358962"/>
      </dsp:txXfrm>
    </dsp:sp>
  </dsp:spTree>
</dsp:drawing>
</file>

<file path=ppt/diagrams/drawing4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E7FA22-3B92-4733-BB85-6986F285FB2A}">
      <dsp:nvSpPr>
        <dsp:cNvPr id="0" name=""/>
        <dsp:cNvSpPr/>
      </dsp:nvSpPr>
      <dsp:spPr>
        <a:xfrm>
          <a:off x="0" y="0"/>
          <a:ext cx="7187995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Diffusione della cultura dell’innovazione a tutti i livelli della società regionale</a:t>
          </a:r>
          <a:endParaRPr lang="it-IT" sz="1100" kern="1200" dirty="0"/>
        </a:p>
      </dsp:txBody>
      <dsp:txXfrm>
        <a:off x="30157" y="30157"/>
        <a:ext cx="7127681" cy="557446"/>
      </dsp:txXfrm>
    </dsp:sp>
  </dsp:spTree>
</dsp:drawing>
</file>

<file path=ppt/diagrams/drawing4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0754" y="193559"/>
          <a:ext cx="379955" cy="3799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290732" y="193559"/>
          <a:ext cx="2027202" cy="3799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Accordi di Programma/IT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r>
            <a:rPr lang="it-IT" sz="1500" i="1" kern="1200" dirty="0" smtClean="0">
              <a:latin typeface="Calibri" panose="020F0502020204030204" pitchFamily="34" charset="0"/>
            </a:rPr>
            <a:t>Procedure negoziali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290732" y="193559"/>
        <a:ext cx="2027202" cy="379955"/>
      </dsp:txXfrm>
    </dsp:sp>
  </dsp:spTree>
</dsp:drawing>
</file>

<file path=ppt/diagrams/drawing4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0984" y="139301"/>
          <a:ext cx="380822" cy="38082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291395" y="139301"/>
          <a:ext cx="2031827" cy="380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Contratti di Rete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 </a:t>
          </a:r>
          <a:r>
            <a:rPr lang="it-IT" sz="1500" b="0" i="1" kern="1200" dirty="0" smtClean="0">
              <a:latin typeface="Calibri" panose="020F0502020204030204" pitchFamily="34" charset="0"/>
            </a:rPr>
            <a:t>Procedure negoziali </a:t>
          </a:r>
          <a:endParaRPr lang="it-IT" sz="1500" b="0" i="1" kern="1200" dirty="0">
            <a:latin typeface="Calibri" panose="020F0502020204030204" pitchFamily="34" charset="0"/>
          </a:endParaRPr>
        </a:p>
      </dsp:txBody>
      <dsp:txXfrm>
        <a:off x="291395" y="139301"/>
        <a:ext cx="2031827" cy="380822"/>
      </dsp:txXfrm>
    </dsp:sp>
  </dsp:spTree>
</dsp:drawing>
</file>

<file path=ppt/diagrams/drawing4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Incentivi a Start up e spin off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4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Sostegno a Cluster Nazional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4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Cofinanziamento progetti Horizon 2020 </a:t>
          </a:r>
          <a:endParaRPr lang="it-IT" sz="1500" b="1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4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Sostegno a Fondi di Venture Capital 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4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17421" y="162133"/>
          <a:ext cx="442807" cy="4428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38825" y="162133"/>
          <a:ext cx="2362542" cy="4428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just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Incentiv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a</a:t>
          </a:r>
          <a:r>
            <a:rPr lang="it-IT" sz="15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brevettazione, prototipazione e copertura costi fase pre seed</a:t>
          </a:r>
          <a:endParaRPr lang="it-IT" sz="1500" b="0" i="1" kern="1200" dirty="0">
            <a:solidFill>
              <a:schemeClr val="tx1"/>
            </a:solidFill>
            <a:latin typeface="Calibri" panose="020F0502020204030204" pitchFamily="34" charset="0"/>
          </a:endParaRPr>
        </a:p>
      </dsp:txBody>
      <dsp:txXfrm>
        <a:off x="338825" y="162133"/>
        <a:ext cx="2362542" cy="44280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Cosa dobbiamo fare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5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Voucher Tecnologici e all’acquisizione di KIBS 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5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Incentivi all’innovazione sociale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5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Azioni di attrazione di talent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5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Procurement</a:t>
          </a:r>
          <a:r>
            <a:rPr lang="it-IT" sz="1500" b="1" i="0" kern="1200" baseline="0" dirty="0" smtClean="0">
              <a:latin typeface="Calibri" panose="020F0502020204030204" pitchFamily="34" charset="0"/>
            </a:rPr>
            <a:t> precommerciale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5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7938" y="177701"/>
          <a:ext cx="411671" cy="41167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3774" y="177701"/>
          <a:ext cx="2196420" cy="4116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Living</a:t>
          </a:r>
          <a:r>
            <a:rPr lang="it-IT" sz="1500" b="1" i="0" kern="1200" baseline="0" dirty="0" smtClean="0">
              <a:latin typeface="Calibri" panose="020F0502020204030204" pitchFamily="34" charset="0"/>
            </a:rPr>
            <a:t> Labs e Fab Labs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3774" y="177701"/>
        <a:ext cx="2196420" cy="411671"/>
      </dsp:txXfrm>
    </dsp:sp>
  </dsp:spTree>
</dsp:drawing>
</file>

<file path=ppt/diagrams/drawing5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Formazione</a:t>
          </a:r>
          <a:r>
            <a:rPr lang="it-IT" sz="1500" b="1" i="0" kern="1200" baseline="0" dirty="0" smtClean="0">
              <a:latin typeface="Calibri" panose="020F0502020204030204" pitchFamily="34" charset="0"/>
            </a:rPr>
            <a:t> continua e permanente su ICT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5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7938" y="177701"/>
          <a:ext cx="411671" cy="41167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3774" y="177701"/>
          <a:ext cx="2196420" cy="4116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Sostegno a PEI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3774" y="177701"/>
        <a:ext cx="2196420" cy="411671"/>
      </dsp:txXfrm>
    </dsp:sp>
  </dsp:spTree>
</dsp:drawing>
</file>

<file path=ppt/diagrams/drawing5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12625" y="171176"/>
          <a:ext cx="424720" cy="42472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24985" y="171176"/>
          <a:ext cx="2266036" cy="424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Formazione Open </a:t>
          </a:r>
          <a:r>
            <a:rPr lang="it-IT" sz="1500" b="1" i="0" kern="1200" dirty="0" err="1" smtClean="0">
              <a:latin typeface="Calibri" panose="020F0502020204030204" pitchFamily="34" charset="0"/>
            </a:rPr>
            <a:t>Government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24985" y="171176"/>
        <a:ext cx="2266036" cy="424720"/>
      </dsp:txXfrm>
    </dsp:sp>
  </dsp:spTree>
</dsp:drawing>
</file>

<file path=ppt/diagrams/drawing5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12625" y="171176"/>
          <a:ext cx="424720" cy="42472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24985" y="171176"/>
          <a:ext cx="2266036" cy="424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Iniziative pilote di scambio transnazionale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24985" y="171176"/>
        <a:ext cx="2266036" cy="424720"/>
      </dsp:txXfrm>
    </dsp:sp>
  </dsp:spTree>
</dsp:drawing>
</file>

<file path=ppt/diagrams/drawing5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267"/>
          <a:ext cx="4053175" cy="36906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Delimitazione Perimetro d’Ambito </a:t>
          </a:r>
          <a:endParaRPr lang="it-IT" sz="1800" b="1" kern="1200" dirty="0"/>
        </a:p>
      </dsp:txBody>
      <dsp:txXfrm>
        <a:off x="18016" y="18283"/>
        <a:ext cx="4017143" cy="33303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4084293" y="-577348"/>
          <a:ext cx="3974841" cy="571455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Avere il quadro chiaro dove inserire il proprio contributo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Definire le modalità per l’elaborazione e/o l’invio del contributo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4437" y="486544"/>
        <a:ext cx="5520518" cy="3586769"/>
      </dsp:txXfrm>
    </dsp:sp>
    <dsp:sp modelId="{4B75031E-EAE2-44AE-A204-79AAE3CD8BF2}">
      <dsp:nvSpPr>
        <dsp:cNvPr id="0" name=""/>
        <dsp:cNvSpPr/>
      </dsp:nvSpPr>
      <dsp:spPr>
        <a:xfrm>
          <a:off x="0" y="0"/>
          <a:ext cx="3214437" cy="4968552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Avvio tavolo</a:t>
          </a:r>
        </a:p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8 maggio 2014</a:t>
          </a:r>
          <a:endParaRPr lang="it-IT" sz="4400" b="1" kern="1200" dirty="0"/>
        </a:p>
      </dsp:txBody>
      <dsp:txXfrm>
        <a:off x="156916" y="156916"/>
        <a:ext cx="2900605" cy="4654720"/>
      </dsp:txXfrm>
    </dsp:sp>
  </dsp:spTree>
</dsp:drawing>
</file>

<file path=ppt/diagrams/drawing6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6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a posizione competitiva della Sicilia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6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A1168C-7C8C-4D96-AFDB-12A6AD8CB0AC}">
      <dsp:nvSpPr>
        <dsp:cNvPr id="0" name=""/>
        <dsp:cNvSpPr/>
      </dsp:nvSpPr>
      <dsp:spPr>
        <a:xfrm>
          <a:off x="0" y="14462"/>
          <a:ext cx="4104456" cy="561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>
              <a:solidFill>
                <a:schemeClr val="bg1"/>
              </a:solidFill>
            </a:rPr>
            <a:t>Scienze della Vita in Sicilia</a:t>
          </a:r>
          <a:endParaRPr lang="it-IT" sz="1600" b="1" kern="1200" dirty="0">
            <a:solidFill>
              <a:schemeClr val="bg1"/>
            </a:solidFill>
          </a:endParaRPr>
        </a:p>
      </dsp:txBody>
      <dsp:txXfrm>
        <a:off x="27415" y="41877"/>
        <a:ext cx="4049626" cy="506770"/>
      </dsp:txXfrm>
    </dsp:sp>
  </dsp:spTree>
</dsp:drawing>
</file>

<file path=ppt/diagrams/drawing6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7EA93C-3BCB-40A4-925E-09568D968595}">
      <dsp:nvSpPr>
        <dsp:cNvPr id="0" name=""/>
        <dsp:cNvSpPr/>
      </dsp:nvSpPr>
      <dsp:spPr>
        <a:xfrm>
          <a:off x="0" y="0"/>
          <a:ext cx="7776864" cy="2685057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In Sicilia sono localizzate 7 imprese biotech, e per questo si colloca decima tra le regioni italiane, il cui fatturato è pari a 111 milioni di euro, mentre gli investimenti in R&amp;S ammontano a 35 milioni di euro e gli addetti sono 151</a:t>
          </a:r>
        </a:p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rPr>
            <a:t>(in base a queste ultime tre categorie la Sicilia si attesta settima tra le regioni italiane)</a:t>
          </a:r>
          <a:endParaRPr lang="it-IT" sz="2400" b="1" kern="1200" dirty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+mj-lt"/>
          </a:endParaRPr>
        </a:p>
      </dsp:txBody>
      <dsp:txXfrm>
        <a:off x="131074" y="131074"/>
        <a:ext cx="7514716" cy="2422909"/>
      </dsp:txXfrm>
    </dsp:sp>
  </dsp:spTree>
</dsp:drawing>
</file>

<file path=ppt/diagrams/drawing6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6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a posizione competitiva della Sicilia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6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A1168C-7C8C-4D96-AFDB-12A6AD8CB0AC}">
      <dsp:nvSpPr>
        <dsp:cNvPr id="0" name=""/>
        <dsp:cNvSpPr/>
      </dsp:nvSpPr>
      <dsp:spPr>
        <a:xfrm>
          <a:off x="0" y="773"/>
          <a:ext cx="6696744" cy="79131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La filiera biomedicale siciliana ha tutte le potenzialità per divenire un polo all'avanguardia nella ricerca e nell'innovazione, capace di attrarre investimenti e di essere competitivo a livello internazionale:</a:t>
          </a:r>
          <a:endParaRPr lang="it-IT" sz="1400" b="1" kern="1200" dirty="0"/>
        </a:p>
      </dsp:txBody>
      <dsp:txXfrm>
        <a:off x="38629" y="39402"/>
        <a:ext cx="6619486" cy="714057"/>
      </dsp:txXfrm>
    </dsp:sp>
  </dsp:spTree>
</dsp:drawing>
</file>

<file path=ppt/diagrams/drawing6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6D4DDD-2655-4A15-A6CD-C8C4497FBCA9}">
      <dsp:nvSpPr>
        <dsp:cNvPr id="0" name=""/>
        <dsp:cNvSpPr/>
      </dsp:nvSpPr>
      <dsp:spPr>
        <a:xfrm>
          <a:off x="379535" y="16"/>
          <a:ext cx="1272130" cy="127213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6E7EEBBD-886B-46D0-98EF-5E25278344ED}">
      <dsp:nvSpPr>
        <dsp:cNvPr id="0" name=""/>
        <dsp:cNvSpPr/>
      </dsp:nvSpPr>
      <dsp:spPr>
        <a:xfrm>
          <a:off x="1015601" y="16"/>
          <a:ext cx="6787281" cy="1272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Consistenti risorse finanziarie dedicate dalle imprese farmaceutiche a progetti di ricerca e sviluppo. L'impegno è premiato dai risultati: le “poche ma buone” imprese farmaceutiche siciliane contribuiscono in maniera apprezzabile al valore aggiunto dell'industria manifatturiera regionale (circa il 5%, tenendo conto dell'indotto più dell'8%).</a:t>
          </a:r>
          <a:endParaRPr lang="it-IT" sz="1400" b="1" kern="1200" dirty="0"/>
        </a:p>
      </dsp:txBody>
      <dsp:txXfrm>
        <a:off x="1015601" y="16"/>
        <a:ext cx="6787281" cy="1272130"/>
      </dsp:txXfrm>
    </dsp:sp>
    <dsp:sp modelId="{AD423144-F2DC-4FD3-A02A-B033C56C5B34}">
      <dsp:nvSpPr>
        <dsp:cNvPr id="0" name=""/>
        <dsp:cNvSpPr/>
      </dsp:nvSpPr>
      <dsp:spPr>
        <a:xfrm>
          <a:off x="379535" y="1272146"/>
          <a:ext cx="1272130" cy="127213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EC76156-026F-496E-BEEA-539F9680CDFF}">
      <dsp:nvSpPr>
        <dsp:cNvPr id="0" name=""/>
        <dsp:cNvSpPr/>
      </dsp:nvSpPr>
      <dsp:spPr>
        <a:xfrm>
          <a:off x="1015601" y="1272146"/>
          <a:ext cx="6787281" cy="1272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Esistenza di ampio capitale umano concentrato nel settore microbiologico, biochimico, biologico molecolare e immunologico afferente all'università, agli enti pubblici di ricerca, compreso agli istituti di ricovero e cura a carattere scientifico e ad alcuni istituti privati e alle industrie, particolarmente del settore farmaceutico</a:t>
          </a:r>
          <a:endParaRPr lang="it-IT" sz="1400" b="1" kern="1200" dirty="0"/>
        </a:p>
      </dsp:txBody>
      <dsp:txXfrm>
        <a:off x="1015601" y="1272146"/>
        <a:ext cx="6787281" cy="1272130"/>
      </dsp:txXfrm>
    </dsp:sp>
    <dsp:sp modelId="{093122C7-E9C3-4C21-BD3C-F5CE571988EB}">
      <dsp:nvSpPr>
        <dsp:cNvPr id="0" name=""/>
        <dsp:cNvSpPr/>
      </dsp:nvSpPr>
      <dsp:spPr>
        <a:xfrm>
          <a:off x="379535" y="2544277"/>
          <a:ext cx="1272130" cy="127213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DDBDF28-BA4F-46A6-82E0-6F30DFA3A9AB}">
      <dsp:nvSpPr>
        <dsp:cNvPr id="0" name=""/>
        <dsp:cNvSpPr/>
      </dsp:nvSpPr>
      <dsp:spPr>
        <a:xfrm>
          <a:off x="1015601" y="2544277"/>
          <a:ext cx="6787281" cy="127213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Ricerca in campo biomedicale supportata da varie istituzioni scientifiche tra cui Università, ospedali, società di ricerca e sviluppo, strutture del CNR, e si avvale frequentemente di collaborazioni con le imprese dell'alta tecnologia dell'Etna Valley.</a:t>
          </a:r>
          <a:endParaRPr lang="it-IT" sz="1400" b="1" kern="1200" dirty="0"/>
        </a:p>
      </dsp:txBody>
      <dsp:txXfrm>
        <a:off x="1015601" y="2544277"/>
        <a:ext cx="6787281" cy="1272130"/>
      </dsp:txXfrm>
    </dsp:sp>
  </dsp:spTree>
</dsp:drawing>
</file>

<file path=ppt/diagrams/drawing6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6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a posizione competitiva della Sicilia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75031E-EAE2-44AE-A204-79AAE3CD8BF2}">
      <dsp:nvSpPr>
        <dsp:cNvPr id="0" name=""/>
        <dsp:cNvSpPr/>
      </dsp:nvSpPr>
      <dsp:spPr>
        <a:xfrm>
          <a:off x="1751" y="0"/>
          <a:ext cx="1792909" cy="4533321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kern="1200" dirty="0" smtClean="0"/>
            <a:t>TAVOLI TEMATICI</a:t>
          </a:r>
          <a:endParaRPr lang="it-IT" sz="2400" b="1" kern="1200" dirty="0"/>
        </a:p>
      </dsp:txBody>
      <dsp:txXfrm>
        <a:off x="89274" y="87523"/>
        <a:ext cx="1617863" cy="4358275"/>
      </dsp:txXfrm>
    </dsp:sp>
  </dsp:spTree>
</dsp:drawing>
</file>

<file path=ppt/diagrams/drawing7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A1168C-7C8C-4D96-AFDB-12A6AD8CB0AC}">
      <dsp:nvSpPr>
        <dsp:cNvPr id="0" name=""/>
        <dsp:cNvSpPr/>
      </dsp:nvSpPr>
      <dsp:spPr>
        <a:xfrm>
          <a:off x="0" y="97539"/>
          <a:ext cx="7274409" cy="14401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/>
            <a:t>Il settore è in Sicilia ancora troppo poco sviluppato per competere con successo a livello internazionale. In particolare, le imprese legate alla produzione di apparecchi medicali, chirurgici, ed ortopedici non hanno le dimensioni adatte a lavorare in un campo così innovativo, che richiede importanti e costanti investimenti in ricerca e sviluppo</a:t>
          </a:r>
          <a:endParaRPr lang="it-IT" sz="1600" b="1" kern="1200" dirty="0"/>
        </a:p>
      </dsp:txBody>
      <dsp:txXfrm>
        <a:off x="70303" y="167842"/>
        <a:ext cx="7133803" cy="1299554"/>
      </dsp:txXfrm>
    </dsp:sp>
  </dsp:spTree>
</dsp:drawing>
</file>

<file path=ppt/diagrams/drawing7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F13854-0590-4926-B64A-DDDC19531637}">
      <dsp:nvSpPr>
        <dsp:cNvPr id="0" name=""/>
        <dsp:cNvSpPr/>
      </dsp:nvSpPr>
      <dsp:spPr>
        <a:xfrm>
          <a:off x="0" y="154803"/>
          <a:ext cx="7294657" cy="6762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kern="1200" dirty="0" smtClean="0"/>
            <a:t>Il sistema italiano biotecnologico non dispone di un portafoglio di prodotti innovativi, di brevetti e/o di diritti di proprietà intellettuale di un certo rilievo. </a:t>
          </a:r>
          <a:endParaRPr lang="it-IT" sz="1700" kern="1200" dirty="0"/>
        </a:p>
      </dsp:txBody>
      <dsp:txXfrm>
        <a:off x="33012" y="187815"/>
        <a:ext cx="7228633" cy="610236"/>
      </dsp:txXfrm>
    </dsp:sp>
  </dsp:spTree>
</dsp:drawing>
</file>

<file path=ppt/diagrams/drawing7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7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a posizione competitiva della Sicilia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7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48F6CD-0086-43F5-862E-8C5F749FC497}">
      <dsp:nvSpPr>
        <dsp:cNvPr id="0" name=""/>
        <dsp:cNvSpPr/>
      </dsp:nvSpPr>
      <dsp:spPr>
        <a:xfrm>
          <a:off x="936097" y="763"/>
          <a:ext cx="6336717" cy="1849495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egli ultimi anni la Sicilia ha promosso una crescente partecipazione del proprio sistema della ricerca in network scientifico-tecnologici</a:t>
          </a:r>
        </a:p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 principali indicatori di settore mostrano un trend di crescita in linea con quello delle altre regioni del Mezzogiorno</a:t>
          </a:r>
          <a:endParaRPr lang="it-IT" sz="16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860845" y="763"/>
        <a:ext cx="4487222" cy="1849495"/>
      </dsp:txXfrm>
    </dsp:sp>
    <dsp:sp modelId="{171B0213-E8F7-4FD8-9FB8-984FB83C3AB0}">
      <dsp:nvSpPr>
        <dsp:cNvPr id="0" name=""/>
        <dsp:cNvSpPr/>
      </dsp:nvSpPr>
      <dsp:spPr>
        <a:xfrm>
          <a:off x="936097" y="2073599"/>
          <a:ext cx="6336717" cy="1849495"/>
        </a:xfrm>
        <a:prstGeom prst="chevron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e azioni implementate, che mirano alla creazione di un network di laboratori tecnologici capaci di trasferire le scoperte scientifiche all’industria, non solo hanno mitigato i ritardi strutturali del sistema della ricerca regionale, ma hanno anche creato migliori condizioni per un più facile accesso all’offerta della ricerca da parte dell’industria</a:t>
          </a:r>
          <a:r>
            <a:rPr lang="it-IT" sz="1600" kern="1200" dirty="0" smtClean="0"/>
            <a:t>.</a:t>
          </a:r>
          <a:endParaRPr lang="it-IT" sz="1600" kern="1200" dirty="0"/>
        </a:p>
      </dsp:txBody>
      <dsp:txXfrm>
        <a:off x="1860845" y="2073599"/>
        <a:ext cx="4487222" cy="1849495"/>
      </dsp:txXfrm>
    </dsp:sp>
  </dsp:spTree>
</dsp:drawing>
</file>

<file path=ppt/diagrams/drawing7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79CDED-D6A1-4A6D-9C07-64327066B11C}">
      <dsp:nvSpPr>
        <dsp:cNvPr id="0" name=""/>
        <dsp:cNvSpPr/>
      </dsp:nvSpPr>
      <dsp:spPr>
        <a:xfrm>
          <a:off x="0" y="824"/>
          <a:ext cx="813690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11A9EFC-1577-4715-8850-7D8485817ED1}">
      <dsp:nvSpPr>
        <dsp:cNvPr id="0" name=""/>
        <dsp:cNvSpPr/>
      </dsp:nvSpPr>
      <dsp:spPr>
        <a:xfrm>
          <a:off x="0" y="824"/>
          <a:ext cx="8136904" cy="7743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just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/>
            <a:t>Il contesto siciliano si distingue dal resto del Sud dell'Italia per l'impegno nel comparto farmaceutico e biomedicale in quanto ad investimenti e ricerca</a:t>
          </a:r>
          <a:endParaRPr lang="it-IT" sz="2000" kern="1200" dirty="0"/>
        </a:p>
      </dsp:txBody>
      <dsp:txXfrm>
        <a:off x="0" y="824"/>
        <a:ext cx="8136904" cy="774300"/>
      </dsp:txXfrm>
    </dsp:sp>
    <dsp:sp modelId="{71B972C5-9654-4A1A-B880-C612C5C639D0}">
      <dsp:nvSpPr>
        <dsp:cNvPr id="0" name=""/>
        <dsp:cNvSpPr/>
      </dsp:nvSpPr>
      <dsp:spPr>
        <a:xfrm>
          <a:off x="0" y="775124"/>
          <a:ext cx="813690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CCB37C-6248-42C0-84ED-CAA26B1DA090}">
      <dsp:nvSpPr>
        <dsp:cNvPr id="0" name=""/>
        <dsp:cNvSpPr/>
      </dsp:nvSpPr>
      <dsp:spPr>
        <a:xfrm>
          <a:off x="0" y="775124"/>
          <a:ext cx="8136904" cy="1406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just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/>
            <a:t>Lo scenario relativo all'industria farmaceutica vera e propria, è caratterizzato dalla presenza di imprese di dimensione media e grande, sia nazionali che estere e da una significativa attività di ricerca intramuros, che le ha rese leader nel mercato internazionale di alcune tipologie di prodotti</a:t>
          </a:r>
          <a:endParaRPr lang="it-IT" sz="2000" kern="1200" dirty="0"/>
        </a:p>
      </dsp:txBody>
      <dsp:txXfrm>
        <a:off x="0" y="775124"/>
        <a:ext cx="8136904" cy="1406900"/>
      </dsp:txXfrm>
    </dsp:sp>
    <dsp:sp modelId="{387120A3-D05F-42E6-8BAA-4BF0DA1792C5}">
      <dsp:nvSpPr>
        <dsp:cNvPr id="0" name=""/>
        <dsp:cNvSpPr/>
      </dsp:nvSpPr>
      <dsp:spPr>
        <a:xfrm>
          <a:off x="0" y="2182024"/>
          <a:ext cx="813690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C8109A-1BEB-42E9-A086-DBDC1A45B6FC}">
      <dsp:nvSpPr>
        <dsp:cNvPr id="0" name=""/>
        <dsp:cNvSpPr/>
      </dsp:nvSpPr>
      <dsp:spPr>
        <a:xfrm>
          <a:off x="0" y="2182024"/>
          <a:ext cx="8136904" cy="14895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just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/>
            <a:t>In Sicilia la tradizione farmaceutica imprenditoriale è ben rappresentata e già radicata a Catania e a Noto(SR), anche con realtà di spicco, con radici territoriali solide ed al tempo stesso con una forte vocazione all’internazionalizzazione. </a:t>
          </a:r>
          <a:endParaRPr lang="it-IT" sz="2000" kern="1200" dirty="0"/>
        </a:p>
      </dsp:txBody>
      <dsp:txXfrm>
        <a:off x="0" y="2182024"/>
        <a:ext cx="8136904" cy="1489558"/>
      </dsp:txXfrm>
    </dsp:sp>
  </dsp:spTree>
</dsp:drawing>
</file>

<file path=ppt/diagrams/drawing7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66079"/>
          <a:ext cx="252028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399"/>
          <a:ext cx="1764196" cy="53136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51953" y="26338"/>
        <a:ext cx="1712318" cy="479482"/>
      </dsp:txXfrm>
    </dsp:sp>
  </dsp:spTree>
</dsp:drawing>
</file>

<file path=ppt/diagrams/drawing7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Competenze scientifiche e tecnologiche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7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66079"/>
          <a:ext cx="252028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399"/>
          <a:ext cx="1764196" cy="53136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51953" y="26338"/>
        <a:ext cx="1712318" cy="479482"/>
      </dsp:txXfrm>
    </dsp:sp>
  </dsp:spTree>
</dsp:drawing>
</file>

<file path=ppt/diagrams/drawing7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Competenze scientifiche e tecnologiche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CC59A-ED65-4B0D-9470-3F18E593A142}">
      <dsp:nvSpPr>
        <dsp:cNvPr id="0" name=""/>
        <dsp:cNvSpPr/>
      </dsp:nvSpPr>
      <dsp:spPr>
        <a:xfrm>
          <a:off x="0" y="0"/>
          <a:ext cx="7574833" cy="0"/>
        </a:xfrm>
        <a:prstGeom prst="line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4F97BB-80AE-4B89-8B32-FB05A53BD028}">
      <dsp:nvSpPr>
        <dsp:cNvPr id="0" name=""/>
        <dsp:cNvSpPr/>
      </dsp:nvSpPr>
      <dsp:spPr>
        <a:xfrm>
          <a:off x="0" y="0"/>
          <a:ext cx="7574833" cy="7297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800" b="1" i="0" kern="1200" dirty="0">
            <a:solidFill>
              <a:srgbClr val="C00000"/>
            </a:solidFill>
          </a:endParaRPr>
        </a:p>
      </dsp:txBody>
      <dsp:txXfrm>
        <a:off x="0" y="0"/>
        <a:ext cx="7574833" cy="729762"/>
      </dsp:txXfrm>
    </dsp:sp>
  </dsp:spTree>
</dsp:drawing>
</file>

<file path=ppt/diagrams/drawing8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C99B98-96C7-4492-87A5-8D8A2FEC99F0}">
      <dsp:nvSpPr>
        <dsp:cNvPr id="0" name=""/>
        <dsp:cNvSpPr/>
      </dsp:nvSpPr>
      <dsp:spPr>
        <a:xfrm>
          <a:off x="0" y="7232"/>
          <a:ext cx="5184576" cy="56160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ICERCA</a:t>
          </a:r>
          <a:r>
            <a:rPr lang="it-IT" sz="2000" b="1" kern="1200" baseline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UNIVERSITARIA E RIS 3 SICILIA</a:t>
          </a:r>
          <a:endParaRPr lang="it-IT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27415" y="34647"/>
        <a:ext cx="5129746" cy="506770"/>
      </dsp:txXfrm>
    </dsp:sp>
  </dsp:spTree>
</dsp:drawing>
</file>

<file path=ppt/diagrams/drawing8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12F41E-97BE-4011-9E65-982A2A03D5D1}">
      <dsp:nvSpPr>
        <dsp:cNvPr id="0" name=""/>
        <dsp:cNvSpPr/>
      </dsp:nvSpPr>
      <dsp:spPr>
        <a:xfrm>
          <a:off x="0" y="0"/>
          <a:ext cx="763284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FF4BEF-DD00-46A3-A79A-7E8E9AFB90FB}">
      <dsp:nvSpPr>
        <dsp:cNvPr id="0" name=""/>
        <dsp:cNvSpPr/>
      </dsp:nvSpPr>
      <dsp:spPr>
        <a:xfrm>
          <a:off x="0" y="0"/>
          <a:ext cx="7632848" cy="11521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Da una rappresentazione quali-quantitativa del sistema della </a:t>
          </a:r>
          <a:r>
            <a:rPr lang="it-IT" sz="1600" b="1" kern="1200" dirty="0" smtClean="0"/>
            <a:t>ricerca universitaria</a:t>
          </a:r>
          <a:r>
            <a:rPr lang="it-IT" sz="1600" kern="1200" dirty="0" smtClean="0"/>
            <a:t> negli atenei della regione Sicilia -</a:t>
          </a:r>
          <a:r>
            <a:rPr lang="it-IT" sz="1600" i="1" kern="1200" dirty="0" smtClean="0"/>
            <a:t>con lo scopo di rilevare le componenti del sistema universitario siciliano che denotano particolare funzionalità e dinamismo nell’ottica della strategia per la Smart Specialisation della Regione Siciliana nel periodo 2014-2020</a:t>
          </a:r>
          <a:r>
            <a:rPr lang="it-IT" sz="1600" kern="1200" dirty="0" smtClean="0"/>
            <a:t>- emerge:</a:t>
          </a:r>
          <a:endParaRPr lang="it-IT" sz="1600" kern="1200" dirty="0"/>
        </a:p>
      </dsp:txBody>
      <dsp:txXfrm>
        <a:off x="0" y="0"/>
        <a:ext cx="7632848" cy="1152128"/>
      </dsp:txXfrm>
    </dsp:sp>
  </dsp:spTree>
</dsp:drawing>
</file>

<file path=ppt/diagrams/drawing8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B4206B-064E-485C-815E-8854B0D3654E}">
      <dsp:nvSpPr>
        <dsp:cNvPr id="0" name=""/>
        <dsp:cNvSpPr/>
      </dsp:nvSpPr>
      <dsp:spPr>
        <a:xfrm>
          <a:off x="110311" y="944130"/>
          <a:ext cx="415994" cy="415994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CE3144F-92FD-41D5-AEF5-1F4C8262D549}">
      <dsp:nvSpPr>
        <dsp:cNvPr id="0" name=""/>
        <dsp:cNvSpPr/>
      </dsp:nvSpPr>
      <dsp:spPr>
        <a:xfrm>
          <a:off x="318308" y="1125"/>
          <a:ext cx="2219483" cy="23020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1590" rIns="0" bIns="21590" numCol="1" spcCol="1270" anchor="ctr" anchorCtr="0">
          <a:noAutofit/>
        </a:bodyPr>
        <a:lstStyle/>
        <a:p>
          <a:pPr lvl="0" algn="just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kern="1200" dirty="0" smtClean="0"/>
            <a:t>Nell’area delle </a:t>
          </a:r>
          <a:r>
            <a:rPr lang="it-IT" sz="1700" b="1" kern="1200" dirty="0" smtClean="0"/>
            <a:t>Scienze biologiche</a:t>
          </a:r>
          <a:r>
            <a:rPr lang="it-IT" sz="1700" kern="1200" dirty="0" smtClean="0"/>
            <a:t> si rilevano gruppi di ricerca attivi su tutti e tre i principali atenei in grado di conseguire risultati significativi in particolare nei progetti di ricerca nazionali e comunitari. </a:t>
          </a:r>
          <a:endParaRPr lang="it-IT" sz="1700" kern="1200" dirty="0"/>
        </a:p>
      </dsp:txBody>
      <dsp:txXfrm>
        <a:off x="318308" y="1125"/>
        <a:ext cx="2219483" cy="2302005"/>
      </dsp:txXfrm>
    </dsp:sp>
  </dsp:spTree>
</dsp:drawing>
</file>

<file path=ppt/diagrams/drawing8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B4206B-064E-485C-815E-8854B0D3654E}">
      <dsp:nvSpPr>
        <dsp:cNvPr id="0" name=""/>
        <dsp:cNvSpPr/>
      </dsp:nvSpPr>
      <dsp:spPr>
        <a:xfrm>
          <a:off x="111468" y="867552"/>
          <a:ext cx="425135" cy="42513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CE3144F-92FD-41D5-AEF5-1F4C8262D549}">
      <dsp:nvSpPr>
        <dsp:cNvPr id="0" name=""/>
        <dsp:cNvSpPr/>
      </dsp:nvSpPr>
      <dsp:spPr>
        <a:xfrm>
          <a:off x="324036" y="0"/>
          <a:ext cx="2268251" cy="21602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0320" rIns="0" bIns="2032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Nell’area delle </a:t>
          </a:r>
          <a:r>
            <a:rPr lang="it-IT" sz="1600" b="1" kern="1200" dirty="0" smtClean="0"/>
            <a:t>Scienze chimiche</a:t>
          </a:r>
          <a:r>
            <a:rPr lang="it-IT" sz="1600" kern="1200" dirty="0" smtClean="0"/>
            <a:t> l’intero sistema regionale universitario mostrare segnali di attivismo almeno equiparabili al contesto nazionale, con gruppi di ricerca dinamici in tutti e tre i principali atenei</a:t>
          </a:r>
          <a:endParaRPr lang="it-IT" sz="1600" kern="1200" dirty="0"/>
        </a:p>
      </dsp:txBody>
      <dsp:txXfrm>
        <a:off x="324036" y="0"/>
        <a:ext cx="2268251" cy="2160239"/>
      </dsp:txXfrm>
    </dsp:sp>
  </dsp:spTree>
</dsp:drawing>
</file>

<file path=ppt/diagrams/drawing8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B4206B-064E-485C-815E-8854B0D3654E}">
      <dsp:nvSpPr>
        <dsp:cNvPr id="0" name=""/>
        <dsp:cNvSpPr/>
      </dsp:nvSpPr>
      <dsp:spPr>
        <a:xfrm>
          <a:off x="139195" y="817661"/>
          <a:ext cx="524917" cy="52491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CE3144F-92FD-41D5-AEF5-1F4C8262D549}">
      <dsp:nvSpPr>
        <dsp:cNvPr id="0" name=""/>
        <dsp:cNvSpPr/>
      </dsp:nvSpPr>
      <dsp:spPr>
        <a:xfrm>
          <a:off x="403218" y="0"/>
          <a:ext cx="2800629" cy="215813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1590" rIns="0" bIns="21590" numCol="1" spcCol="1270" anchor="ctr" anchorCtr="0">
          <a:noAutofit/>
        </a:bodyPr>
        <a:lstStyle/>
        <a:p>
          <a:pPr lvl="0" algn="just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kern="1200" dirty="0" smtClean="0"/>
            <a:t>Nell’area delle </a:t>
          </a:r>
          <a:r>
            <a:rPr lang="it-IT" sz="1700" b="1" kern="1200" dirty="0" smtClean="0"/>
            <a:t>Scienze mediche</a:t>
          </a:r>
          <a:r>
            <a:rPr lang="it-IT" sz="1700" kern="1200" dirty="0" smtClean="0"/>
            <a:t> si distinguono gruppi di ricerca operanti in particolare negli atenei di Catania e Palermo per ciò che attiene settori clinici quali “Malattie dell'Apparato Respiratorio”, “Malattie Infettive” e “Urologia</a:t>
          </a:r>
          <a:endParaRPr lang="it-IT" sz="1700" kern="1200" dirty="0"/>
        </a:p>
      </dsp:txBody>
      <dsp:txXfrm>
        <a:off x="403218" y="0"/>
        <a:ext cx="2800629" cy="2158131"/>
      </dsp:txXfrm>
    </dsp:sp>
  </dsp:spTree>
</dsp:drawing>
</file>

<file path=ppt/diagrams/drawing8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66079"/>
          <a:ext cx="252028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399"/>
          <a:ext cx="1764196" cy="53136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51953" y="26338"/>
        <a:ext cx="1712318" cy="479482"/>
      </dsp:txXfrm>
    </dsp:sp>
  </dsp:spTree>
</dsp:drawing>
</file>

<file path=ppt/diagrams/drawing8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/>
            <a:t>Competenze produttive</a:t>
          </a:r>
          <a:endParaRPr lang="it-IT" sz="1300" b="1" kern="1200" dirty="0"/>
        </a:p>
      </dsp:txBody>
      <dsp:txXfrm>
        <a:off x="605078" y="160888"/>
        <a:ext cx="1825125" cy="542320"/>
      </dsp:txXfrm>
    </dsp:sp>
  </dsp:spTree>
</dsp:drawing>
</file>

<file path=ppt/diagrams/drawing8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844516-852C-4440-AB7D-C3FE0D70B344}">
      <dsp:nvSpPr>
        <dsp:cNvPr id="0" name=""/>
        <dsp:cNvSpPr/>
      </dsp:nvSpPr>
      <dsp:spPr>
        <a:xfrm>
          <a:off x="0" y="1451"/>
          <a:ext cx="77048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ED7C96-F7A1-4081-95CA-4752798B5F9B}">
      <dsp:nvSpPr>
        <dsp:cNvPr id="0" name=""/>
        <dsp:cNvSpPr/>
      </dsp:nvSpPr>
      <dsp:spPr>
        <a:xfrm>
          <a:off x="0" y="1451"/>
          <a:ext cx="7704856" cy="79675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La filiera biomedicale siciliana ha negli ultimi anni ottenuto risultati apprezzabili, ed è per questo che ha tutte le potenzialità per accrescere il settore e diventare un polo di attrazione di investimenti nella ricerca e nella produzione</a:t>
          </a:r>
          <a:endParaRPr lang="it-IT" sz="1600" kern="1200" dirty="0"/>
        </a:p>
      </dsp:txBody>
      <dsp:txXfrm>
        <a:off x="0" y="1451"/>
        <a:ext cx="7704856" cy="796751"/>
      </dsp:txXfrm>
    </dsp:sp>
    <dsp:sp modelId="{A62B62E1-E1CF-4B90-9226-B0CC63A8A049}">
      <dsp:nvSpPr>
        <dsp:cNvPr id="0" name=""/>
        <dsp:cNvSpPr/>
      </dsp:nvSpPr>
      <dsp:spPr>
        <a:xfrm>
          <a:off x="0" y="798203"/>
          <a:ext cx="77048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22FAEE-2F20-4878-A046-7743E24DEBDD}">
      <dsp:nvSpPr>
        <dsp:cNvPr id="0" name=""/>
        <dsp:cNvSpPr/>
      </dsp:nvSpPr>
      <dsp:spPr>
        <a:xfrm>
          <a:off x="0" y="798203"/>
          <a:ext cx="7704856" cy="9501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 Per effettuare quel passo in più che la renda competitiva a livello nazionale e internazionale è indispensabile che si inneschi un circolo virtuoso si basi su esperienze di stretta collaborazione tra il mondo della ricerca e la realtà produttiva.</a:t>
          </a:r>
          <a:endParaRPr lang="it-IT" sz="1600" kern="1200" dirty="0"/>
        </a:p>
      </dsp:txBody>
      <dsp:txXfrm>
        <a:off x="0" y="798203"/>
        <a:ext cx="7704856" cy="950195"/>
      </dsp:txXfrm>
    </dsp:sp>
    <dsp:sp modelId="{DD87D155-B843-4155-9FCF-03309B302992}">
      <dsp:nvSpPr>
        <dsp:cNvPr id="0" name=""/>
        <dsp:cNvSpPr/>
      </dsp:nvSpPr>
      <dsp:spPr>
        <a:xfrm>
          <a:off x="0" y="1748399"/>
          <a:ext cx="77048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495A62-FD6C-435D-BB67-5DEEA4708957}">
      <dsp:nvSpPr>
        <dsp:cNvPr id="0" name=""/>
        <dsp:cNvSpPr/>
      </dsp:nvSpPr>
      <dsp:spPr>
        <a:xfrm>
          <a:off x="0" y="1748399"/>
          <a:ext cx="7704856" cy="1056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Per ottenere questo risultato ha importanza fondamentale che le imprese e le Istituzioni continuino ad investire, aumentando le risorse destinate alla ricerca e dando seguito a progetti, che rendano la regione Sicilia un centro di conoscenza e innovazione costantemente all'avanguardia.</a:t>
          </a:r>
          <a:endParaRPr lang="it-IT" sz="1600" kern="1200" dirty="0"/>
        </a:p>
      </dsp:txBody>
      <dsp:txXfrm>
        <a:off x="0" y="1748399"/>
        <a:ext cx="7704856" cy="1056210"/>
      </dsp:txXfrm>
    </dsp:sp>
    <dsp:sp modelId="{33638EC5-74C3-4321-93E5-7EBC23B2174A}">
      <dsp:nvSpPr>
        <dsp:cNvPr id="0" name=""/>
        <dsp:cNvSpPr/>
      </dsp:nvSpPr>
      <dsp:spPr>
        <a:xfrm>
          <a:off x="0" y="2804609"/>
          <a:ext cx="77048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39141F-74D5-4E0C-8807-C997756840FC}">
      <dsp:nvSpPr>
        <dsp:cNvPr id="0" name=""/>
        <dsp:cNvSpPr/>
      </dsp:nvSpPr>
      <dsp:spPr>
        <a:xfrm>
          <a:off x="0" y="2804609"/>
          <a:ext cx="7704856" cy="13704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Al fine di garantire il coordinamento delle aggregazioni esistenti in una prospettiva più ampia, e di dare nuovo impulso ai progetti Life </a:t>
          </a:r>
          <a:r>
            <a:rPr lang="it-IT" sz="1600" kern="1200" dirty="0" err="1" smtClean="0"/>
            <a:t>Sciences</a:t>
          </a:r>
          <a:r>
            <a:rPr lang="it-IT" sz="1600" kern="1200" dirty="0" smtClean="0"/>
            <a:t>, la Regione sta attualmente finalizzando la costituzione del Distretto </a:t>
          </a:r>
          <a:r>
            <a:rPr lang="it-IT" sz="1600" kern="1200" dirty="0" err="1" smtClean="0"/>
            <a:t>BioMedico</a:t>
          </a:r>
          <a:r>
            <a:rPr lang="it-IT" sz="1600" kern="1200" dirty="0" smtClean="0"/>
            <a:t> della Sicilia.</a:t>
          </a:r>
          <a:endParaRPr lang="it-IT" sz="1600" kern="1200" dirty="0"/>
        </a:p>
      </dsp:txBody>
      <dsp:txXfrm>
        <a:off x="0" y="2804609"/>
        <a:ext cx="7704856" cy="1370402"/>
      </dsp:txXfrm>
    </dsp:sp>
  </dsp:spTree>
</dsp:drawing>
</file>

<file path=ppt/diagrams/drawing8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867A7D-84CC-4ABF-B0E6-DF9F283923CF}">
      <dsp:nvSpPr>
        <dsp:cNvPr id="0" name=""/>
        <dsp:cNvSpPr/>
      </dsp:nvSpPr>
      <dsp:spPr>
        <a:xfrm>
          <a:off x="2790" y="470605"/>
          <a:ext cx="2720552" cy="108822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/>
            <a:t>Impegni e scadenze</a:t>
          </a:r>
          <a:endParaRPr lang="it-IT" sz="2000" kern="1200" dirty="0"/>
        </a:p>
      </dsp:txBody>
      <dsp:txXfrm>
        <a:off x="2790" y="470605"/>
        <a:ext cx="2720552" cy="1088220"/>
      </dsp:txXfrm>
    </dsp:sp>
    <dsp:sp modelId="{1BD922C1-C6AF-40E3-BC00-4A2C5AD342A7}">
      <dsp:nvSpPr>
        <dsp:cNvPr id="0" name=""/>
        <dsp:cNvSpPr/>
      </dsp:nvSpPr>
      <dsp:spPr>
        <a:xfrm>
          <a:off x="2790" y="1558826"/>
          <a:ext cx="272055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800" kern="1200" dirty="0" smtClean="0"/>
            <a:t>Condivisione piano di lavoro </a:t>
          </a:r>
          <a:endParaRPr lang="it-IT" sz="2800" kern="1200" dirty="0"/>
        </a:p>
      </dsp:txBody>
      <dsp:txXfrm>
        <a:off x="2790" y="1558826"/>
        <a:ext cx="2720552" cy="2810880"/>
      </dsp:txXfrm>
    </dsp:sp>
    <dsp:sp modelId="{7F2A340E-59E4-4175-8854-BFDFADCB71D4}">
      <dsp:nvSpPr>
        <dsp:cNvPr id="0" name=""/>
        <dsp:cNvSpPr/>
      </dsp:nvSpPr>
      <dsp:spPr>
        <a:xfrm>
          <a:off x="3104219" y="470605"/>
          <a:ext cx="2720552" cy="108822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Format contributi </a:t>
          </a:r>
          <a:endParaRPr lang="it-IT" sz="2400" kern="1200" dirty="0"/>
        </a:p>
      </dsp:txBody>
      <dsp:txXfrm>
        <a:off x="3104219" y="470605"/>
        <a:ext cx="2720552" cy="1088220"/>
      </dsp:txXfrm>
    </dsp:sp>
    <dsp:sp modelId="{94513309-A0E9-4D0F-A5A0-10C1399E3A82}">
      <dsp:nvSpPr>
        <dsp:cNvPr id="0" name=""/>
        <dsp:cNvSpPr/>
      </dsp:nvSpPr>
      <dsp:spPr>
        <a:xfrm>
          <a:off x="3104219" y="1558826"/>
          <a:ext cx="272055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800" kern="1200" dirty="0" smtClean="0"/>
            <a:t>Presentazione e chiarimenti per la compilazione del format</a:t>
          </a:r>
          <a:endParaRPr lang="it-IT" sz="2800" kern="1200" dirty="0"/>
        </a:p>
      </dsp:txBody>
      <dsp:txXfrm>
        <a:off x="3104219" y="1558826"/>
        <a:ext cx="2720552" cy="2810880"/>
      </dsp:txXfrm>
    </dsp:sp>
    <dsp:sp modelId="{A49B64DD-D913-4BEC-83CF-83365F2FB831}">
      <dsp:nvSpPr>
        <dsp:cNvPr id="0" name=""/>
        <dsp:cNvSpPr/>
      </dsp:nvSpPr>
      <dsp:spPr>
        <a:xfrm>
          <a:off x="6208439" y="470605"/>
          <a:ext cx="2720552" cy="108822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Strumenti e modalità di lavoro</a:t>
          </a:r>
          <a:endParaRPr lang="it-IT" sz="2400" kern="1200" dirty="0"/>
        </a:p>
      </dsp:txBody>
      <dsp:txXfrm>
        <a:off x="6208439" y="470605"/>
        <a:ext cx="2720552" cy="1088220"/>
      </dsp:txXfrm>
    </dsp:sp>
    <dsp:sp modelId="{5E16153D-110E-4957-9859-E9281CCD6FF8}">
      <dsp:nvSpPr>
        <dsp:cNvPr id="0" name=""/>
        <dsp:cNvSpPr/>
      </dsp:nvSpPr>
      <dsp:spPr>
        <a:xfrm>
          <a:off x="6205649" y="1558826"/>
          <a:ext cx="272055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Forum discussione http://www.innovatoripa.it/groups/strategia-innovazione-sicilia</a:t>
          </a:r>
          <a:endParaRPr lang="it-IT" sz="2400" kern="1200" dirty="0"/>
        </a:p>
      </dsp:txBody>
      <dsp:txXfrm>
        <a:off x="6205649" y="1558826"/>
        <a:ext cx="2720552" cy="2810880"/>
      </dsp:txXfrm>
    </dsp:sp>
  </dsp:spTree>
</dsp:drawing>
</file>

<file path=ppt/diagrams/drawing8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9B64DD-D913-4BEC-83CF-83365F2FB831}">
      <dsp:nvSpPr>
        <dsp:cNvPr id="0" name=""/>
        <dsp:cNvSpPr/>
      </dsp:nvSpPr>
      <dsp:spPr>
        <a:xfrm>
          <a:off x="0" y="38557"/>
          <a:ext cx="8928992" cy="1497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Strumenti e modalità di lavoro</a:t>
          </a:r>
          <a:endParaRPr lang="it-IT" sz="2400" kern="1200" dirty="0"/>
        </a:p>
      </dsp:txBody>
      <dsp:txXfrm>
        <a:off x="0" y="38557"/>
        <a:ext cx="8928992" cy="1497600"/>
      </dsp:txXfrm>
    </dsp:sp>
    <dsp:sp modelId="{5E16153D-110E-4957-9859-E9281CCD6FF8}">
      <dsp:nvSpPr>
        <dsp:cNvPr id="0" name=""/>
        <dsp:cNvSpPr/>
      </dsp:nvSpPr>
      <dsp:spPr>
        <a:xfrm>
          <a:off x="0" y="1536157"/>
          <a:ext cx="8928992" cy="25693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Comunità su </a:t>
          </a:r>
          <a:r>
            <a:rPr lang="it-IT" sz="2400" kern="1200" dirty="0" err="1" smtClean="0"/>
            <a:t>InnovatoriPA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Download documenti (Slide tavolo, Slide Esperto, Piano lavoro, Format contributo)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Caricamento contributo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Invio commenti 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E-mail invio allegati: strategia.innovazione@regione.sicilia.it</a:t>
          </a:r>
          <a:endParaRPr lang="it-IT" sz="2400" kern="1200" dirty="0"/>
        </a:p>
      </dsp:txBody>
      <dsp:txXfrm>
        <a:off x="0" y="1536157"/>
        <a:ext cx="8928992" cy="256932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1CCAE3-4E5B-4AD4-98CF-C84CFD4B2B61}">
      <dsp:nvSpPr>
        <dsp:cNvPr id="0" name=""/>
        <dsp:cNvSpPr/>
      </dsp:nvSpPr>
      <dsp:spPr>
        <a:xfrm>
          <a:off x="1380422" y="249817"/>
          <a:ext cx="3413760" cy="3413760"/>
        </a:xfrm>
        <a:prstGeom prst="pie">
          <a:avLst>
            <a:gd name="adj1" fmla="val 162000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Avvio</a:t>
          </a:r>
          <a:endParaRPr lang="it-IT" sz="1300" kern="1200" dirty="0"/>
        </a:p>
      </dsp:txBody>
      <dsp:txXfrm>
        <a:off x="3192560" y="957360"/>
        <a:ext cx="1259840" cy="934720"/>
      </dsp:txXfrm>
    </dsp:sp>
    <dsp:sp modelId="{F0F6EC78-48FE-4338-9470-51C5945E4C5A}">
      <dsp:nvSpPr>
        <dsp:cNvPr id="0" name=""/>
        <dsp:cNvSpPr/>
      </dsp:nvSpPr>
      <dsp:spPr>
        <a:xfrm>
          <a:off x="1380422" y="364422"/>
          <a:ext cx="3413760" cy="3413760"/>
        </a:xfrm>
        <a:prstGeom prst="pie">
          <a:avLst>
            <a:gd name="adj1" fmla="val 0"/>
            <a:gd name="adj2" fmla="val 54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Elaborazione ed invio contributi</a:t>
          </a:r>
          <a:endParaRPr lang="it-IT" sz="1300" kern="1200" dirty="0"/>
        </a:p>
      </dsp:txBody>
      <dsp:txXfrm>
        <a:off x="3192560" y="2135920"/>
        <a:ext cx="1259840" cy="934720"/>
      </dsp:txXfrm>
    </dsp:sp>
    <dsp:sp modelId="{6474684D-7762-4CD1-A3B4-D72EED99A80F}">
      <dsp:nvSpPr>
        <dsp:cNvPr id="0" name=""/>
        <dsp:cNvSpPr/>
      </dsp:nvSpPr>
      <dsp:spPr>
        <a:xfrm>
          <a:off x="1265817" y="364422"/>
          <a:ext cx="3413760" cy="3413760"/>
        </a:xfrm>
        <a:prstGeom prst="pie">
          <a:avLst>
            <a:gd name="adj1" fmla="val 5400000"/>
            <a:gd name="adj2" fmla="val 108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Raccolta e sistematizzazione contributi</a:t>
          </a:r>
          <a:endParaRPr lang="it-IT" sz="1300" kern="1200" dirty="0"/>
        </a:p>
      </dsp:txBody>
      <dsp:txXfrm>
        <a:off x="1607600" y="2135920"/>
        <a:ext cx="1259840" cy="934720"/>
      </dsp:txXfrm>
    </dsp:sp>
    <dsp:sp modelId="{2CD97BB5-9B57-47E0-A5C0-4486B247297F}">
      <dsp:nvSpPr>
        <dsp:cNvPr id="0" name=""/>
        <dsp:cNvSpPr/>
      </dsp:nvSpPr>
      <dsp:spPr>
        <a:xfrm>
          <a:off x="1265817" y="249817"/>
          <a:ext cx="3413760" cy="3413760"/>
        </a:xfrm>
        <a:prstGeom prst="pie">
          <a:avLst>
            <a:gd name="adj1" fmla="val 108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Restituzione e condivisione</a:t>
          </a:r>
          <a:endParaRPr lang="it-IT" sz="1300" kern="1200" dirty="0"/>
        </a:p>
      </dsp:txBody>
      <dsp:txXfrm>
        <a:off x="1607600" y="957360"/>
        <a:ext cx="1259840" cy="934720"/>
      </dsp:txXfrm>
    </dsp:sp>
    <dsp:sp modelId="{5CC2729F-211C-496E-9C98-DF70F4BFF7C1}">
      <dsp:nvSpPr>
        <dsp:cNvPr id="0" name=""/>
        <dsp:cNvSpPr/>
      </dsp:nvSpPr>
      <dsp:spPr>
        <a:xfrm>
          <a:off x="1169094" y="38489"/>
          <a:ext cx="3836416" cy="3836416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92B4D0-B766-4BEF-AE06-9F28B81EEEE6}">
      <dsp:nvSpPr>
        <dsp:cNvPr id="0" name=""/>
        <dsp:cNvSpPr/>
      </dsp:nvSpPr>
      <dsp:spPr>
        <a:xfrm>
          <a:off x="1169094" y="153094"/>
          <a:ext cx="3836416" cy="3836416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8C345A-097E-4D75-B389-7699A21EF75E}">
      <dsp:nvSpPr>
        <dsp:cNvPr id="0" name=""/>
        <dsp:cNvSpPr/>
      </dsp:nvSpPr>
      <dsp:spPr>
        <a:xfrm>
          <a:off x="1049770" y="198018"/>
          <a:ext cx="3836416" cy="3836416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14AC69-442E-4B0A-9DD7-23F3962569FF}">
      <dsp:nvSpPr>
        <dsp:cNvPr id="0" name=""/>
        <dsp:cNvSpPr/>
      </dsp:nvSpPr>
      <dsp:spPr>
        <a:xfrm>
          <a:off x="1054489" y="38489"/>
          <a:ext cx="3836416" cy="3836416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pList2#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3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4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5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6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7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8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9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0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1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2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3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4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5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6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7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8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0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1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5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7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68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9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3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4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7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7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7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8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9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2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83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84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8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6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8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#9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#10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52DCA0-E0C4-4C9A-85AF-7DB18A0D9F69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A21715-2796-4EE2-8D70-273DF756F44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06147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0482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  <p:sp>
        <p:nvSpPr>
          <p:cNvPr id="20483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2699"/>
            <a:fld id="{849D7E3E-65FA-44BD-9ED2-69951587F243}" type="slidenum">
              <a:rPr lang="en-GB" smtClean="0"/>
              <a:pPr defTabSz="902699"/>
              <a:t>1</a:t>
            </a:fld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3175073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Segnaposto immagine diapositiva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3794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  <p:sp>
        <p:nvSpPr>
          <p:cNvPr id="33795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77900"/>
            <a:fld id="{75B8384F-8735-4410-B801-D6CC57CD08A2}" type="slidenum">
              <a:rPr lang="en-GB" smtClean="0"/>
              <a:pPr defTabSz="977900"/>
              <a:t>11</a:t>
            </a:fld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9899084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0600" y="777875"/>
            <a:ext cx="5116513" cy="3836988"/>
          </a:xfrm>
          <a:solidFill>
            <a:srgbClr val="5B9BD5"/>
          </a:solidFill>
          <a:ln w="12600">
            <a:solidFill>
              <a:srgbClr val="41719C"/>
            </a:solidFill>
          </a:ln>
        </p:spPr>
      </p:sp>
      <p:sp>
        <p:nvSpPr>
          <p:cNvPr id="40962" name="Segnaposto note 2"/>
          <p:cNvSpPr>
            <a:spLocks noGrp="1"/>
          </p:cNvSpPr>
          <p:nvPr>
            <p:ph type="body" sz="quarter" idx="1"/>
          </p:nvPr>
        </p:nvSpPr>
        <p:spPr>
          <a:noFill/>
          <a:ln/>
        </p:spPr>
        <p:txBody>
          <a:bodyPr/>
          <a:lstStyle/>
          <a:p>
            <a:r>
              <a:rPr lang="it-IT" b="1" smtClean="0"/>
              <a:t>1.Azione di feedback e di restituzione (Laboratorio) </a:t>
            </a:r>
            <a:r>
              <a:rPr lang="it-IT" smtClean="0"/>
              <a:t>agli attori coinvolti da parte della Regione degli avanzamenti conseguiti, </a:t>
            </a:r>
            <a:r>
              <a:rPr lang="it-IT" sz="1100" smtClean="0"/>
              <a:t>avvalendosi di una appropriata strategia comunicativa, per confermare la credibilità del processo e della sua conduzione</a:t>
            </a:r>
          </a:p>
          <a:p>
            <a:r>
              <a:rPr lang="it-IT" sz="1100" smtClean="0"/>
              <a:t>4.</a:t>
            </a:r>
            <a:r>
              <a:rPr lang="it-IT" sz="1100" b="1" smtClean="0"/>
              <a:t> Attività di Formalizzazione (con appositi strumenti) della condivisione </a:t>
            </a:r>
            <a:r>
              <a:rPr lang="it-IT" sz="1100" smtClean="0"/>
              <a:t>delle linee portanti della strategia e del piano  d’azione con gli attori rilevanti (a partire da EPR e università)</a:t>
            </a:r>
            <a:endParaRPr lang="it-IT" sz="1000" smtClean="0"/>
          </a:p>
          <a:p>
            <a:endParaRPr lang="it-IT" sz="1100" smtClean="0"/>
          </a:p>
          <a:p>
            <a:endParaRPr lang="it-IT" altLang="it-IT" smtClean="0"/>
          </a:p>
        </p:txBody>
      </p:sp>
    </p:spTree>
    <p:extLst>
      <p:ext uri="{BB962C8B-B14F-4D97-AF65-F5344CB8AC3E}">
        <p14:creationId xmlns:p14="http://schemas.microsoft.com/office/powerpoint/2010/main" val="874644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02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698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78377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573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96729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79337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2379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9" descr="Logo-FORMEZ-PA-0903201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3866" y="6496050"/>
            <a:ext cx="9715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 descr="POAT-LOGO-GENERALE-8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46123" y="6357939"/>
            <a:ext cx="597877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uppo 3"/>
          <p:cNvGrpSpPr>
            <a:grpSpLocks/>
          </p:cNvGrpSpPr>
          <p:nvPr userDrawn="1"/>
        </p:nvGrpSpPr>
        <p:grpSpPr bwMode="auto">
          <a:xfrm>
            <a:off x="8792" y="-19050"/>
            <a:ext cx="9144000" cy="646113"/>
            <a:chOff x="-37009" y="-36513"/>
            <a:chExt cx="9143999" cy="894344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4688" t="21562" r="5663" b="66251"/>
            <a:stretch>
              <a:fillRect/>
            </a:stretch>
          </p:blipFill>
          <p:spPr bwMode="auto">
            <a:xfrm>
              <a:off x="-37009" y="0"/>
              <a:ext cx="9143999" cy="85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5" descr="jaune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13731" y="0"/>
              <a:ext cx="800100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7" descr="stellone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907704" y="-36513"/>
              <a:ext cx="533400" cy="619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" descr="Logo_POFesr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627784" y="0"/>
              <a:ext cx="827088" cy="692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28602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4DAF7B-515D-4BF6-8720-51963FCFDAC6}" type="datetimeFigureOut">
              <a:rPr lang="it-IT">
                <a:solidFill>
                  <a:srgbClr val="000000"/>
                </a:solidFill>
              </a:rPr>
              <a:pPr>
                <a:defRPr/>
              </a:pPr>
              <a:t>10/05/2014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cs typeface="+mn-cs"/>
              </a:defRPr>
            </a:lvl1pPr>
          </a:lstStyle>
          <a:p>
            <a:pPr>
              <a:defRPr/>
            </a:pPr>
            <a:fld id="{0359A34D-25AC-47B8-B735-38BE13EF388C}" type="slidenum">
              <a:rPr lang="it-IT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089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02478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2882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8258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5133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784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33291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76009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2673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6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7542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metaeconomicdevelopment.com/News/PublishingImages/s3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14375"/>
            <a:ext cx="2714625" cy="1357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it-IT" smtClean="0"/>
              <a:t>Click to edit Master text styles</a:t>
            </a:r>
          </a:p>
          <a:p>
            <a:pPr lvl="1"/>
            <a:r>
              <a:rPr lang="en-GB" altLang="it-IT" smtClean="0"/>
              <a:t>Second level</a:t>
            </a:r>
          </a:p>
          <a:p>
            <a:pPr lvl="2"/>
            <a:r>
              <a:rPr lang="en-GB" altLang="it-IT" smtClean="0"/>
              <a:t>Third level</a:t>
            </a:r>
          </a:p>
          <a:p>
            <a:pPr lvl="3"/>
            <a:r>
              <a:rPr lang="en-GB" altLang="it-IT" smtClean="0"/>
              <a:t>Fourth level</a:t>
            </a:r>
          </a:p>
          <a:p>
            <a:pPr lvl="4"/>
            <a:r>
              <a:rPr lang="en-GB" altLang="it-IT" smtClean="0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" name="Gruppo 4"/>
          <p:cNvGrpSpPr>
            <a:grpSpLocks/>
          </p:cNvGrpSpPr>
          <p:nvPr userDrawn="1"/>
        </p:nvGrpSpPr>
        <p:grpSpPr bwMode="auto">
          <a:xfrm>
            <a:off x="0" y="-26988"/>
            <a:ext cx="9144000" cy="792163"/>
            <a:chOff x="0" y="-36513"/>
            <a:chExt cx="9144000" cy="822326"/>
          </a:xfrm>
        </p:grpSpPr>
        <p:pic>
          <p:nvPicPr>
            <p:cNvPr id="1033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4688" t="21562" r="5663" b="66251"/>
            <a:stretch>
              <a:fillRect/>
            </a:stretch>
          </p:blipFill>
          <p:spPr bwMode="auto">
            <a:xfrm>
              <a:off x="0" y="0"/>
              <a:ext cx="9144000" cy="785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4" name="Picture 5" descr="jaune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13731" y="0"/>
              <a:ext cx="800100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5" name="Picture 7" descr="stellone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907704" y="-36513"/>
              <a:ext cx="533400" cy="619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6" name="Picture 2" descr="Logo_POFesr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627784" y="0"/>
              <a:ext cx="827088" cy="692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3" name="Connettore 1 12"/>
          <p:cNvCxnSpPr/>
          <p:nvPr userDrawn="1"/>
        </p:nvCxnSpPr>
        <p:spPr bwMode="auto">
          <a:xfrm>
            <a:off x="0" y="1857375"/>
            <a:ext cx="7643813" cy="1588"/>
          </a:xfrm>
          <a:prstGeom prst="line">
            <a:avLst/>
          </a:prstGeom>
          <a:noFill/>
          <a:ln w="28575" algn="ctr">
            <a:solidFill>
              <a:schemeClr val="accent6">
                <a:lumMod val="60000"/>
                <a:lumOff val="40000"/>
              </a:schemeClr>
            </a:solidFill>
            <a:round/>
            <a:headEnd/>
            <a:tailEnd type="triangle" w="med" len="med"/>
          </a:ln>
          <a:effectLst/>
          <a:extLst/>
        </p:spPr>
      </p:cxnSp>
      <p:sp>
        <p:nvSpPr>
          <p:cNvPr id="15" name="Titolo 1"/>
          <p:cNvSpPr txBox="1">
            <a:spLocks/>
          </p:cNvSpPr>
          <p:nvPr userDrawn="1"/>
        </p:nvSpPr>
        <p:spPr>
          <a:xfrm>
            <a:off x="0" y="1285875"/>
            <a:ext cx="7643813" cy="571500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endParaRPr lang="it-IT" sz="28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152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0.xml"/><Relationship Id="rId13" Type="http://schemas.openxmlformats.org/officeDocument/2006/relationships/image" Target="../media/image11.wmf"/><Relationship Id="rId18" Type="http://schemas.microsoft.com/office/2007/relationships/diagramDrawing" Target="../diagrams/drawing21.xml"/><Relationship Id="rId3" Type="http://schemas.openxmlformats.org/officeDocument/2006/relationships/diagramData" Target="../diagrams/data19.xml"/><Relationship Id="rId21" Type="http://schemas.openxmlformats.org/officeDocument/2006/relationships/diagramQuickStyle" Target="../diagrams/quickStyle22.xml"/><Relationship Id="rId7" Type="http://schemas.microsoft.com/office/2007/relationships/diagramDrawing" Target="../diagrams/drawing19.xml"/><Relationship Id="rId12" Type="http://schemas.microsoft.com/office/2007/relationships/diagramDrawing" Target="../diagrams/drawing20.xml"/><Relationship Id="rId17" Type="http://schemas.openxmlformats.org/officeDocument/2006/relationships/diagramColors" Target="../diagrams/colors21.xml"/><Relationship Id="rId2" Type="http://schemas.openxmlformats.org/officeDocument/2006/relationships/notesSlide" Target="../notesSlides/notesSlide2.xml"/><Relationship Id="rId16" Type="http://schemas.openxmlformats.org/officeDocument/2006/relationships/diagramQuickStyle" Target="../diagrams/quickStyle21.xml"/><Relationship Id="rId20" Type="http://schemas.openxmlformats.org/officeDocument/2006/relationships/diagramLayout" Target="../diagrams/layout2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9.xml"/><Relationship Id="rId11" Type="http://schemas.openxmlformats.org/officeDocument/2006/relationships/diagramColors" Target="../diagrams/colors20.xml"/><Relationship Id="rId5" Type="http://schemas.openxmlformats.org/officeDocument/2006/relationships/diagramQuickStyle" Target="../diagrams/quickStyle19.xml"/><Relationship Id="rId15" Type="http://schemas.openxmlformats.org/officeDocument/2006/relationships/diagramLayout" Target="../diagrams/layout21.xml"/><Relationship Id="rId23" Type="http://schemas.microsoft.com/office/2007/relationships/diagramDrawing" Target="../diagrams/drawing22.xml"/><Relationship Id="rId10" Type="http://schemas.openxmlformats.org/officeDocument/2006/relationships/diagramQuickStyle" Target="../diagrams/quickStyle20.xml"/><Relationship Id="rId19" Type="http://schemas.openxmlformats.org/officeDocument/2006/relationships/diagramData" Target="../diagrams/data22.xml"/><Relationship Id="rId4" Type="http://schemas.openxmlformats.org/officeDocument/2006/relationships/diagramLayout" Target="../diagrams/layout19.xml"/><Relationship Id="rId9" Type="http://schemas.openxmlformats.org/officeDocument/2006/relationships/diagramLayout" Target="../diagrams/layout20.xml"/><Relationship Id="rId14" Type="http://schemas.openxmlformats.org/officeDocument/2006/relationships/diagramData" Target="../diagrams/data21.xml"/><Relationship Id="rId22" Type="http://schemas.openxmlformats.org/officeDocument/2006/relationships/diagramColors" Target="../diagrams/colors2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4.xml"/><Relationship Id="rId3" Type="http://schemas.openxmlformats.org/officeDocument/2006/relationships/diagramData" Target="../diagrams/data23.xml"/><Relationship Id="rId7" Type="http://schemas.microsoft.com/office/2007/relationships/diagramDrawing" Target="../diagrams/drawing23.xml"/><Relationship Id="rId12" Type="http://schemas.microsoft.com/office/2007/relationships/diagramDrawing" Target="../diagrams/drawing2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3.xml"/><Relationship Id="rId11" Type="http://schemas.openxmlformats.org/officeDocument/2006/relationships/diagramColors" Target="../diagrams/colors24.xml"/><Relationship Id="rId5" Type="http://schemas.openxmlformats.org/officeDocument/2006/relationships/diagramQuickStyle" Target="../diagrams/quickStyle23.xml"/><Relationship Id="rId10" Type="http://schemas.openxmlformats.org/officeDocument/2006/relationships/diagramQuickStyle" Target="../diagrams/quickStyle24.xml"/><Relationship Id="rId4" Type="http://schemas.openxmlformats.org/officeDocument/2006/relationships/diagramLayout" Target="../diagrams/layout23.xml"/><Relationship Id="rId9" Type="http://schemas.openxmlformats.org/officeDocument/2006/relationships/diagramLayout" Target="../diagrams/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5.xml"/><Relationship Id="rId2" Type="http://schemas.openxmlformats.org/officeDocument/2006/relationships/diagramData" Target="../diagrams/data2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5.xml"/><Relationship Id="rId5" Type="http://schemas.openxmlformats.org/officeDocument/2006/relationships/diagramColors" Target="../diagrams/colors25.xml"/><Relationship Id="rId4" Type="http://schemas.openxmlformats.org/officeDocument/2006/relationships/diagramQuickStyle" Target="../diagrams/quickStyle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6.xml"/><Relationship Id="rId2" Type="http://schemas.openxmlformats.org/officeDocument/2006/relationships/diagramData" Target="../diagrams/data26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6.xml"/><Relationship Id="rId5" Type="http://schemas.openxmlformats.org/officeDocument/2006/relationships/diagramColors" Target="../diagrams/colors26.xml"/><Relationship Id="rId4" Type="http://schemas.openxmlformats.org/officeDocument/2006/relationships/diagramQuickStyle" Target="../diagrams/quickStyle2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8.xml"/><Relationship Id="rId3" Type="http://schemas.openxmlformats.org/officeDocument/2006/relationships/diagramLayout" Target="../diagrams/layout27.xml"/><Relationship Id="rId7" Type="http://schemas.openxmlformats.org/officeDocument/2006/relationships/diagramData" Target="../diagrams/data28.xml"/><Relationship Id="rId2" Type="http://schemas.openxmlformats.org/officeDocument/2006/relationships/diagramData" Target="../diagrams/data2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7.xml"/><Relationship Id="rId11" Type="http://schemas.microsoft.com/office/2007/relationships/diagramDrawing" Target="../diagrams/drawing28.xml"/><Relationship Id="rId5" Type="http://schemas.openxmlformats.org/officeDocument/2006/relationships/diagramColors" Target="../diagrams/colors27.xml"/><Relationship Id="rId10" Type="http://schemas.openxmlformats.org/officeDocument/2006/relationships/diagramColors" Target="../diagrams/colors28.xml"/><Relationship Id="rId4" Type="http://schemas.openxmlformats.org/officeDocument/2006/relationships/diagramQuickStyle" Target="../diagrams/quickStyle27.xml"/><Relationship Id="rId9" Type="http://schemas.openxmlformats.org/officeDocument/2006/relationships/diagramQuickStyle" Target="../diagrams/quickStyle2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0.xml"/><Relationship Id="rId13" Type="http://schemas.openxmlformats.org/officeDocument/2006/relationships/diagramLayout" Target="../diagrams/layout31.xml"/><Relationship Id="rId18" Type="http://schemas.openxmlformats.org/officeDocument/2006/relationships/diagramLayout" Target="../diagrams/layout32.xml"/><Relationship Id="rId3" Type="http://schemas.openxmlformats.org/officeDocument/2006/relationships/diagramLayout" Target="../diagrams/layout29.xml"/><Relationship Id="rId21" Type="http://schemas.microsoft.com/office/2007/relationships/diagramDrawing" Target="../diagrams/drawing32.xml"/><Relationship Id="rId7" Type="http://schemas.openxmlformats.org/officeDocument/2006/relationships/diagramData" Target="../diagrams/data30.xml"/><Relationship Id="rId12" Type="http://schemas.openxmlformats.org/officeDocument/2006/relationships/diagramData" Target="../diagrams/data31.xml"/><Relationship Id="rId17" Type="http://schemas.openxmlformats.org/officeDocument/2006/relationships/diagramData" Target="../diagrams/data32.xml"/><Relationship Id="rId2" Type="http://schemas.openxmlformats.org/officeDocument/2006/relationships/diagramData" Target="../diagrams/data29.xml"/><Relationship Id="rId16" Type="http://schemas.microsoft.com/office/2007/relationships/diagramDrawing" Target="../diagrams/drawing31.xml"/><Relationship Id="rId20" Type="http://schemas.openxmlformats.org/officeDocument/2006/relationships/diagramColors" Target="../diagrams/colors3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9.xml"/><Relationship Id="rId11" Type="http://schemas.microsoft.com/office/2007/relationships/diagramDrawing" Target="../diagrams/drawing30.xml"/><Relationship Id="rId5" Type="http://schemas.openxmlformats.org/officeDocument/2006/relationships/diagramColors" Target="../diagrams/colors29.xml"/><Relationship Id="rId15" Type="http://schemas.openxmlformats.org/officeDocument/2006/relationships/diagramColors" Target="../diagrams/colors31.xml"/><Relationship Id="rId10" Type="http://schemas.openxmlformats.org/officeDocument/2006/relationships/diagramColors" Target="../diagrams/colors30.xml"/><Relationship Id="rId19" Type="http://schemas.openxmlformats.org/officeDocument/2006/relationships/diagramQuickStyle" Target="../diagrams/quickStyle32.xml"/><Relationship Id="rId4" Type="http://schemas.openxmlformats.org/officeDocument/2006/relationships/diagramQuickStyle" Target="../diagrams/quickStyle29.xml"/><Relationship Id="rId9" Type="http://schemas.openxmlformats.org/officeDocument/2006/relationships/diagramQuickStyle" Target="../diagrams/quickStyle30.xml"/><Relationship Id="rId14" Type="http://schemas.openxmlformats.org/officeDocument/2006/relationships/diagramQuickStyle" Target="../diagrams/quickStyle31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35.xml"/><Relationship Id="rId18" Type="http://schemas.openxmlformats.org/officeDocument/2006/relationships/diagramLayout" Target="../diagrams/layout36.xml"/><Relationship Id="rId26" Type="http://schemas.microsoft.com/office/2007/relationships/diagramDrawing" Target="../diagrams/drawing37.xml"/><Relationship Id="rId39" Type="http://schemas.openxmlformats.org/officeDocument/2006/relationships/diagramQuickStyle" Target="../diagrams/quickStyle40.xml"/><Relationship Id="rId3" Type="http://schemas.openxmlformats.org/officeDocument/2006/relationships/diagramLayout" Target="../diagrams/layout33.xml"/><Relationship Id="rId21" Type="http://schemas.microsoft.com/office/2007/relationships/diagramDrawing" Target="../diagrams/drawing36.xml"/><Relationship Id="rId34" Type="http://schemas.openxmlformats.org/officeDocument/2006/relationships/diagramQuickStyle" Target="../diagrams/quickStyle39.xml"/><Relationship Id="rId42" Type="http://schemas.openxmlformats.org/officeDocument/2006/relationships/diagramData" Target="../diagrams/data41.xml"/><Relationship Id="rId47" Type="http://schemas.openxmlformats.org/officeDocument/2006/relationships/diagramData" Target="../diagrams/data42.xml"/><Relationship Id="rId50" Type="http://schemas.openxmlformats.org/officeDocument/2006/relationships/diagramColors" Target="../diagrams/colors42.xml"/><Relationship Id="rId7" Type="http://schemas.openxmlformats.org/officeDocument/2006/relationships/diagramData" Target="../diagrams/data34.xml"/><Relationship Id="rId12" Type="http://schemas.openxmlformats.org/officeDocument/2006/relationships/diagramData" Target="../diagrams/data35.xml"/><Relationship Id="rId17" Type="http://schemas.openxmlformats.org/officeDocument/2006/relationships/diagramData" Target="../diagrams/data36.xml"/><Relationship Id="rId25" Type="http://schemas.openxmlformats.org/officeDocument/2006/relationships/diagramColors" Target="../diagrams/colors37.xml"/><Relationship Id="rId33" Type="http://schemas.openxmlformats.org/officeDocument/2006/relationships/diagramLayout" Target="../diagrams/layout39.xml"/><Relationship Id="rId38" Type="http://schemas.openxmlformats.org/officeDocument/2006/relationships/diagramLayout" Target="../diagrams/layout40.xml"/><Relationship Id="rId46" Type="http://schemas.microsoft.com/office/2007/relationships/diagramDrawing" Target="../diagrams/drawing41.xml"/><Relationship Id="rId2" Type="http://schemas.openxmlformats.org/officeDocument/2006/relationships/diagramData" Target="../diagrams/data33.xml"/><Relationship Id="rId16" Type="http://schemas.microsoft.com/office/2007/relationships/diagramDrawing" Target="../diagrams/drawing35.xml"/><Relationship Id="rId20" Type="http://schemas.openxmlformats.org/officeDocument/2006/relationships/diagramColors" Target="../diagrams/colors36.xml"/><Relationship Id="rId29" Type="http://schemas.openxmlformats.org/officeDocument/2006/relationships/diagramQuickStyle" Target="../diagrams/quickStyle38.xml"/><Relationship Id="rId41" Type="http://schemas.microsoft.com/office/2007/relationships/diagramDrawing" Target="../diagrams/drawing40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3.xml"/><Relationship Id="rId11" Type="http://schemas.microsoft.com/office/2007/relationships/diagramDrawing" Target="../diagrams/drawing34.xml"/><Relationship Id="rId24" Type="http://schemas.openxmlformats.org/officeDocument/2006/relationships/diagramQuickStyle" Target="../diagrams/quickStyle37.xml"/><Relationship Id="rId32" Type="http://schemas.openxmlformats.org/officeDocument/2006/relationships/diagramData" Target="../diagrams/data39.xml"/><Relationship Id="rId37" Type="http://schemas.openxmlformats.org/officeDocument/2006/relationships/diagramData" Target="../diagrams/data40.xml"/><Relationship Id="rId40" Type="http://schemas.openxmlformats.org/officeDocument/2006/relationships/diagramColors" Target="../diagrams/colors40.xml"/><Relationship Id="rId45" Type="http://schemas.openxmlformats.org/officeDocument/2006/relationships/diagramColors" Target="../diagrams/colors41.xml"/><Relationship Id="rId5" Type="http://schemas.openxmlformats.org/officeDocument/2006/relationships/diagramColors" Target="../diagrams/colors33.xml"/><Relationship Id="rId15" Type="http://schemas.openxmlformats.org/officeDocument/2006/relationships/diagramColors" Target="../diagrams/colors35.xml"/><Relationship Id="rId23" Type="http://schemas.openxmlformats.org/officeDocument/2006/relationships/diagramLayout" Target="../diagrams/layout37.xml"/><Relationship Id="rId28" Type="http://schemas.openxmlformats.org/officeDocument/2006/relationships/diagramLayout" Target="../diagrams/layout38.xml"/><Relationship Id="rId36" Type="http://schemas.microsoft.com/office/2007/relationships/diagramDrawing" Target="../diagrams/drawing39.xml"/><Relationship Id="rId49" Type="http://schemas.openxmlformats.org/officeDocument/2006/relationships/diagramQuickStyle" Target="../diagrams/quickStyle42.xml"/><Relationship Id="rId10" Type="http://schemas.openxmlformats.org/officeDocument/2006/relationships/diagramColors" Target="../diagrams/colors34.xml"/><Relationship Id="rId19" Type="http://schemas.openxmlformats.org/officeDocument/2006/relationships/diagramQuickStyle" Target="../diagrams/quickStyle36.xml"/><Relationship Id="rId31" Type="http://schemas.microsoft.com/office/2007/relationships/diagramDrawing" Target="../diagrams/drawing38.xml"/><Relationship Id="rId44" Type="http://schemas.openxmlformats.org/officeDocument/2006/relationships/diagramQuickStyle" Target="../diagrams/quickStyle41.xml"/><Relationship Id="rId4" Type="http://schemas.openxmlformats.org/officeDocument/2006/relationships/diagramQuickStyle" Target="../diagrams/quickStyle33.xml"/><Relationship Id="rId9" Type="http://schemas.openxmlformats.org/officeDocument/2006/relationships/diagramQuickStyle" Target="../diagrams/quickStyle34.xml"/><Relationship Id="rId14" Type="http://schemas.openxmlformats.org/officeDocument/2006/relationships/diagramQuickStyle" Target="../diagrams/quickStyle35.xml"/><Relationship Id="rId22" Type="http://schemas.openxmlformats.org/officeDocument/2006/relationships/diagramData" Target="../diagrams/data37.xml"/><Relationship Id="rId27" Type="http://schemas.openxmlformats.org/officeDocument/2006/relationships/diagramData" Target="../diagrams/data38.xml"/><Relationship Id="rId30" Type="http://schemas.openxmlformats.org/officeDocument/2006/relationships/diagramColors" Target="../diagrams/colors38.xml"/><Relationship Id="rId35" Type="http://schemas.openxmlformats.org/officeDocument/2006/relationships/diagramColors" Target="../diagrams/colors39.xml"/><Relationship Id="rId43" Type="http://schemas.openxmlformats.org/officeDocument/2006/relationships/diagramLayout" Target="../diagrams/layout41.xml"/><Relationship Id="rId48" Type="http://schemas.openxmlformats.org/officeDocument/2006/relationships/diagramLayout" Target="../diagrams/layout42.xml"/><Relationship Id="rId8" Type="http://schemas.openxmlformats.org/officeDocument/2006/relationships/diagramLayout" Target="../diagrams/layout34.xml"/><Relationship Id="rId51" Type="http://schemas.microsoft.com/office/2007/relationships/diagramDrawing" Target="../diagrams/drawing42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44.xml"/><Relationship Id="rId18" Type="http://schemas.openxmlformats.org/officeDocument/2006/relationships/diagramLayout" Target="../diagrams/layout45.xml"/><Relationship Id="rId26" Type="http://schemas.microsoft.com/office/2007/relationships/diagramDrawing" Target="../diagrams/drawing46.xml"/><Relationship Id="rId39" Type="http://schemas.openxmlformats.org/officeDocument/2006/relationships/diagramQuickStyle" Target="../diagrams/quickStyle49.xml"/><Relationship Id="rId21" Type="http://schemas.microsoft.com/office/2007/relationships/diagramDrawing" Target="../diagrams/drawing45.xml"/><Relationship Id="rId34" Type="http://schemas.openxmlformats.org/officeDocument/2006/relationships/diagramQuickStyle" Target="../diagrams/quickStyle48.xml"/><Relationship Id="rId42" Type="http://schemas.openxmlformats.org/officeDocument/2006/relationships/diagramData" Target="../diagrams/data50.xml"/><Relationship Id="rId47" Type="http://schemas.openxmlformats.org/officeDocument/2006/relationships/diagramData" Target="../diagrams/data51.xml"/><Relationship Id="rId50" Type="http://schemas.openxmlformats.org/officeDocument/2006/relationships/diagramColors" Target="../diagrams/colors51.xml"/><Relationship Id="rId55" Type="http://schemas.openxmlformats.org/officeDocument/2006/relationships/diagramColors" Target="../diagrams/colors52.xml"/><Relationship Id="rId63" Type="http://schemas.openxmlformats.org/officeDocument/2006/relationships/diagramLayout" Target="../diagrams/layout54.xml"/><Relationship Id="rId68" Type="http://schemas.openxmlformats.org/officeDocument/2006/relationships/diagramLayout" Target="../diagrams/layout55.xml"/><Relationship Id="rId76" Type="http://schemas.microsoft.com/office/2007/relationships/diagramDrawing" Target="../diagrams/drawing56.xml"/><Relationship Id="rId84" Type="http://schemas.openxmlformats.org/officeDocument/2006/relationships/diagramQuickStyle" Target="../diagrams/quickStyle58.xml"/><Relationship Id="rId7" Type="http://schemas.openxmlformats.org/officeDocument/2006/relationships/diagramData" Target="../diagrams/data43.xml"/><Relationship Id="rId71" Type="http://schemas.microsoft.com/office/2007/relationships/diagramDrawing" Target="../diagrams/drawing55.xml"/><Relationship Id="rId2" Type="http://schemas.openxmlformats.org/officeDocument/2006/relationships/notesSlide" Target="../notesSlides/notesSlide4.xml"/><Relationship Id="rId16" Type="http://schemas.microsoft.com/office/2007/relationships/diagramDrawing" Target="../diagrams/drawing44.xml"/><Relationship Id="rId29" Type="http://schemas.openxmlformats.org/officeDocument/2006/relationships/diagramQuickStyle" Target="../diagrams/quickStyle47.xml"/><Relationship Id="rId11" Type="http://schemas.microsoft.com/office/2007/relationships/diagramDrawing" Target="../diagrams/drawing43.xml"/><Relationship Id="rId24" Type="http://schemas.openxmlformats.org/officeDocument/2006/relationships/diagramQuickStyle" Target="../diagrams/quickStyle46.xml"/><Relationship Id="rId32" Type="http://schemas.openxmlformats.org/officeDocument/2006/relationships/diagramData" Target="../diagrams/data48.xml"/><Relationship Id="rId37" Type="http://schemas.openxmlformats.org/officeDocument/2006/relationships/diagramData" Target="../diagrams/data49.xml"/><Relationship Id="rId40" Type="http://schemas.openxmlformats.org/officeDocument/2006/relationships/diagramColors" Target="../diagrams/colors49.xml"/><Relationship Id="rId45" Type="http://schemas.openxmlformats.org/officeDocument/2006/relationships/diagramColors" Target="../diagrams/colors50.xml"/><Relationship Id="rId53" Type="http://schemas.openxmlformats.org/officeDocument/2006/relationships/diagramLayout" Target="../diagrams/layout52.xml"/><Relationship Id="rId58" Type="http://schemas.openxmlformats.org/officeDocument/2006/relationships/diagramLayout" Target="../diagrams/layout53.xml"/><Relationship Id="rId66" Type="http://schemas.microsoft.com/office/2007/relationships/diagramDrawing" Target="../diagrams/drawing54.xml"/><Relationship Id="rId74" Type="http://schemas.openxmlformats.org/officeDocument/2006/relationships/diagramQuickStyle" Target="../diagrams/quickStyle56.xml"/><Relationship Id="rId79" Type="http://schemas.openxmlformats.org/officeDocument/2006/relationships/diagramQuickStyle" Target="../diagrams/quickStyle57.xml"/><Relationship Id="rId5" Type="http://schemas.openxmlformats.org/officeDocument/2006/relationships/image" Target="../media/image5.png"/><Relationship Id="rId61" Type="http://schemas.microsoft.com/office/2007/relationships/diagramDrawing" Target="../diagrams/drawing53.xml"/><Relationship Id="rId82" Type="http://schemas.openxmlformats.org/officeDocument/2006/relationships/diagramData" Target="../diagrams/data58.xml"/><Relationship Id="rId19" Type="http://schemas.openxmlformats.org/officeDocument/2006/relationships/diagramQuickStyle" Target="../diagrams/quickStyle45.xml"/><Relationship Id="rId4" Type="http://schemas.openxmlformats.org/officeDocument/2006/relationships/image" Target="../media/image17.jpeg"/><Relationship Id="rId9" Type="http://schemas.openxmlformats.org/officeDocument/2006/relationships/diagramQuickStyle" Target="../diagrams/quickStyle43.xml"/><Relationship Id="rId14" Type="http://schemas.openxmlformats.org/officeDocument/2006/relationships/diagramQuickStyle" Target="../diagrams/quickStyle44.xml"/><Relationship Id="rId22" Type="http://schemas.openxmlformats.org/officeDocument/2006/relationships/diagramData" Target="../diagrams/data46.xml"/><Relationship Id="rId27" Type="http://schemas.openxmlformats.org/officeDocument/2006/relationships/diagramData" Target="../diagrams/data47.xml"/><Relationship Id="rId30" Type="http://schemas.openxmlformats.org/officeDocument/2006/relationships/diagramColors" Target="../diagrams/colors47.xml"/><Relationship Id="rId35" Type="http://schemas.openxmlformats.org/officeDocument/2006/relationships/diagramColors" Target="../diagrams/colors48.xml"/><Relationship Id="rId43" Type="http://schemas.openxmlformats.org/officeDocument/2006/relationships/diagramLayout" Target="../diagrams/layout50.xml"/><Relationship Id="rId48" Type="http://schemas.openxmlformats.org/officeDocument/2006/relationships/diagramLayout" Target="../diagrams/layout51.xml"/><Relationship Id="rId56" Type="http://schemas.microsoft.com/office/2007/relationships/diagramDrawing" Target="../diagrams/drawing52.xml"/><Relationship Id="rId64" Type="http://schemas.openxmlformats.org/officeDocument/2006/relationships/diagramQuickStyle" Target="../diagrams/quickStyle54.xml"/><Relationship Id="rId69" Type="http://schemas.openxmlformats.org/officeDocument/2006/relationships/diagramQuickStyle" Target="../diagrams/quickStyle55.xml"/><Relationship Id="rId77" Type="http://schemas.openxmlformats.org/officeDocument/2006/relationships/diagramData" Target="../diagrams/data57.xml"/><Relationship Id="rId8" Type="http://schemas.openxmlformats.org/officeDocument/2006/relationships/diagramLayout" Target="../diagrams/layout43.xml"/><Relationship Id="rId51" Type="http://schemas.microsoft.com/office/2007/relationships/diagramDrawing" Target="../diagrams/drawing51.xml"/><Relationship Id="rId72" Type="http://schemas.openxmlformats.org/officeDocument/2006/relationships/diagramData" Target="../diagrams/data56.xml"/><Relationship Id="rId80" Type="http://schemas.openxmlformats.org/officeDocument/2006/relationships/diagramColors" Target="../diagrams/colors57.xml"/><Relationship Id="rId85" Type="http://schemas.openxmlformats.org/officeDocument/2006/relationships/diagramColors" Target="../diagrams/colors58.xml"/><Relationship Id="rId3" Type="http://schemas.openxmlformats.org/officeDocument/2006/relationships/image" Target="../media/image3.png"/><Relationship Id="rId12" Type="http://schemas.openxmlformats.org/officeDocument/2006/relationships/diagramData" Target="../diagrams/data44.xml"/><Relationship Id="rId17" Type="http://schemas.openxmlformats.org/officeDocument/2006/relationships/diagramData" Target="../diagrams/data45.xml"/><Relationship Id="rId25" Type="http://schemas.openxmlformats.org/officeDocument/2006/relationships/diagramColors" Target="../diagrams/colors46.xml"/><Relationship Id="rId33" Type="http://schemas.openxmlformats.org/officeDocument/2006/relationships/diagramLayout" Target="../diagrams/layout48.xml"/><Relationship Id="rId38" Type="http://schemas.openxmlformats.org/officeDocument/2006/relationships/diagramLayout" Target="../diagrams/layout49.xml"/><Relationship Id="rId46" Type="http://schemas.microsoft.com/office/2007/relationships/diagramDrawing" Target="../diagrams/drawing50.xml"/><Relationship Id="rId59" Type="http://schemas.openxmlformats.org/officeDocument/2006/relationships/diagramQuickStyle" Target="../diagrams/quickStyle53.xml"/><Relationship Id="rId67" Type="http://schemas.openxmlformats.org/officeDocument/2006/relationships/diagramData" Target="../diagrams/data55.xml"/><Relationship Id="rId20" Type="http://schemas.openxmlformats.org/officeDocument/2006/relationships/diagramColors" Target="../diagrams/colors45.xml"/><Relationship Id="rId41" Type="http://schemas.microsoft.com/office/2007/relationships/diagramDrawing" Target="../diagrams/drawing49.xml"/><Relationship Id="rId54" Type="http://schemas.openxmlformats.org/officeDocument/2006/relationships/diagramQuickStyle" Target="../diagrams/quickStyle52.xml"/><Relationship Id="rId62" Type="http://schemas.openxmlformats.org/officeDocument/2006/relationships/diagramData" Target="../diagrams/data54.xml"/><Relationship Id="rId70" Type="http://schemas.openxmlformats.org/officeDocument/2006/relationships/diagramColors" Target="../diagrams/colors55.xml"/><Relationship Id="rId75" Type="http://schemas.openxmlformats.org/officeDocument/2006/relationships/diagramColors" Target="../diagrams/colors56.xml"/><Relationship Id="rId83" Type="http://schemas.openxmlformats.org/officeDocument/2006/relationships/diagramLayout" Target="../diagrams/layout5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15" Type="http://schemas.openxmlformats.org/officeDocument/2006/relationships/diagramColors" Target="../diagrams/colors44.xml"/><Relationship Id="rId23" Type="http://schemas.openxmlformats.org/officeDocument/2006/relationships/diagramLayout" Target="../diagrams/layout46.xml"/><Relationship Id="rId28" Type="http://schemas.openxmlformats.org/officeDocument/2006/relationships/diagramLayout" Target="../diagrams/layout47.xml"/><Relationship Id="rId36" Type="http://schemas.microsoft.com/office/2007/relationships/diagramDrawing" Target="../diagrams/drawing48.xml"/><Relationship Id="rId49" Type="http://schemas.openxmlformats.org/officeDocument/2006/relationships/diagramQuickStyle" Target="../diagrams/quickStyle51.xml"/><Relationship Id="rId57" Type="http://schemas.openxmlformats.org/officeDocument/2006/relationships/diagramData" Target="../diagrams/data53.xml"/><Relationship Id="rId10" Type="http://schemas.openxmlformats.org/officeDocument/2006/relationships/diagramColors" Target="../diagrams/colors43.xml"/><Relationship Id="rId31" Type="http://schemas.microsoft.com/office/2007/relationships/diagramDrawing" Target="../diagrams/drawing47.xml"/><Relationship Id="rId44" Type="http://schemas.openxmlformats.org/officeDocument/2006/relationships/diagramQuickStyle" Target="../diagrams/quickStyle50.xml"/><Relationship Id="rId52" Type="http://schemas.openxmlformats.org/officeDocument/2006/relationships/diagramData" Target="../diagrams/data52.xml"/><Relationship Id="rId60" Type="http://schemas.openxmlformats.org/officeDocument/2006/relationships/diagramColors" Target="../diagrams/colors53.xml"/><Relationship Id="rId65" Type="http://schemas.openxmlformats.org/officeDocument/2006/relationships/diagramColors" Target="../diagrams/colors54.xml"/><Relationship Id="rId73" Type="http://schemas.openxmlformats.org/officeDocument/2006/relationships/diagramLayout" Target="../diagrams/layout56.xml"/><Relationship Id="rId78" Type="http://schemas.openxmlformats.org/officeDocument/2006/relationships/diagramLayout" Target="../diagrams/layout57.xml"/><Relationship Id="rId81" Type="http://schemas.microsoft.com/office/2007/relationships/diagramDrawing" Target="../diagrams/drawing57.xml"/><Relationship Id="rId86" Type="http://schemas.microsoft.com/office/2007/relationships/diagramDrawing" Target="../diagrams/drawing5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diagramData" Target="../diagrams/data59.xml"/><Relationship Id="rId7" Type="http://schemas.microsoft.com/office/2007/relationships/diagramDrawing" Target="../diagrams/drawing59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59.xml"/><Relationship Id="rId5" Type="http://schemas.openxmlformats.org/officeDocument/2006/relationships/diagramQuickStyle" Target="../diagrams/quickStyle59.xml"/><Relationship Id="rId4" Type="http://schemas.openxmlformats.org/officeDocument/2006/relationships/diagramLayout" Target="../diagrams/layout5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1.xml"/><Relationship Id="rId13" Type="http://schemas.openxmlformats.org/officeDocument/2006/relationships/diagramLayout" Target="../diagrams/layout62.xml"/><Relationship Id="rId18" Type="http://schemas.openxmlformats.org/officeDocument/2006/relationships/diagramLayout" Target="../diagrams/layout63.xml"/><Relationship Id="rId3" Type="http://schemas.openxmlformats.org/officeDocument/2006/relationships/diagramLayout" Target="../diagrams/layout60.xml"/><Relationship Id="rId21" Type="http://schemas.microsoft.com/office/2007/relationships/diagramDrawing" Target="../diagrams/drawing63.xml"/><Relationship Id="rId7" Type="http://schemas.openxmlformats.org/officeDocument/2006/relationships/diagramData" Target="../diagrams/data61.xml"/><Relationship Id="rId12" Type="http://schemas.openxmlformats.org/officeDocument/2006/relationships/diagramData" Target="../diagrams/data62.xml"/><Relationship Id="rId17" Type="http://schemas.openxmlformats.org/officeDocument/2006/relationships/diagramData" Target="../diagrams/data63.xml"/><Relationship Id="rId2" Type="http://schemas.openxmlformats.org/officeDocument/2006/relationships/diagramData" Target="../diagrams/data60.xml"/><Relationship Id="rId16" Type="http://schemas.microsoft.com/office/2007/relationships/diagramDrawing" Target="../diagrams/drawing62.xml"/><Relationship Id="rId20" Type="http://schemas.openxmlformats.org/officeDocument/2006/relationships/diagramColors" Target="../diagrams/colors6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0.xml"/><Relationship Id="rId11" Type="http://schemas.microsoft.com/office/2007/relationships/diagramDrawing" Target="../diagrams/drawing61.xml"/><Relationship Id="rId5" Type="http://schemas.openxmlformats.org/officeDocument/2006/relationships/diagramColors" Target="../diagrams/colors60.xml"/><Relationship Id="rId15" Type="http://schemas.openxmlformats.org/officeDocument/2006/relationships/diagramColors" Target="../diagrams/colors62.xml"/><Relationship Id="rId10" Type="http://schemas.openxmlformats.org/officeDocument/2006/relationships/diagramColors" Target="../diagrams/colors61.xml"/><Relationship Id="rId19" Type="http://schemas.openxmlformats.org/officeDocument/2006/relationships/diagramQuickStyle" Target="../diagrams/quickStyle63.xml"/><Relationship Id="rId4" Type="http://schemas.openxmlformats.org/officeDocument/2006/relationships/diagramQuickStyle" Target="../diagrams/quickStyle60.xml"/><Relationship Id="rId9" Type="http://schemas.openxmlformats.org/officeDocument/2006/relationships/diagramQuickStyle" Target="../diagrams/quickStyle61.xml"/><Relationship Id="rId14" Type="http://schemas.openxmlformats.org/officeDocument/2006/relationships/diagramQuickStyle" Target="../diagrams/quickStyle6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5.xml"/><Relationship Id="rId13" Type="http://schemas.openxmlformats.org/officeDocument/2006/relationships/diagramLayout" Target="../diagrams/layout66.xml"/><Relationship Id="rId18" Type="http://schemas.openxmlformats.org/officeDocument/2006/relationships/diagramLayout" Target="../diagrams/layout67.xml"/><Relationship Id="rId3" Type="http://schemas.openxmlformats.org/officeDocument/2006/relationships/diagramLayout" Target="../diagrams/layout64.xml"/><Relationship Id="rId21" Type="http://schemas.microsoft.com/office/2007/relationships/diagramDrawing" Target="../diagrams/drawing67.xml"/><Relationship Id="rId7" Type="http://schemas.openxmlformats.org/officeDocument/2006/relationships/diagramData" Target="../diagrams/data65.xml"/><Relationship Id="rId12" Type="http://schemas.openxmlformats.org/officeDocument/2006/relationships/diagramData" Target="../diagrams/data66.xml"/><Relationship Id="rId17" Type="http://schemas.openxmlformats.org/officeDocument/2006/relationships/diagramData" Target="../diagrams/data67.xml"/><Relationship Id="rId2" Type="http://schemas.openxmlformats.org/officeDocument/2006/relationships/diagramData" Target="../diagrams/data64.xml"/><Relationship Id="rId16" Type="http://schemas.microsoft.com/office/2007/relationships/diagramDrawing" Target="../diagrams/drawing66.xml"/><Relationship Id="rId20" Type="http://schemas.openxmlformats.org/officeDocument/2006/relationships/diagramColors" Target="../diagrams/colors6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4.xml"/><Relationship Id="rId11" Type="http://schemas.microsoft.com/office/2007/relationships/diagramDrawing" Target="../diagrams/drawing65.xml"/><Relationship Id="rId5" Type="http://schemas.openxmlformats.org/officeDocument/2006/relationships/diagramColors" Target="../diagrams/colors64.xml"/><Relationship Id="rId15" Type="http://schemas.openxmlformats.org/officeDocument/2006/relationships/diagramColors" Target="../diagrams/colors66.xml"/><Relationship Id="rId10" Type="http://schemas.openxmlformats.org/officeDocument/2006/relationships/diagramColors" Target="../diagrams/colors65.xml"/><Relationship Id="rId19" Type="http://schemas.openxmlformats.org/officeDocument/2006/relationships/diagramQuickStyle" Target="../diagrams/quickStyle67.xml"/><Relationship Id="rId4" Type="http://schemas.openxmlformats.org/officeDocument/2006/relationships/diagramQuickStyle" Target="../diagrams/quickStyle64.xml"/><Relationship Id="rId9" Type="http://schemas.openxmlformats.org/officeDocument/2006/relationships/diagramQuickStyle" Target="../diagrams/quickStyle65.xml"/><Relationship Id="rId14" Type="http://schemas.openxmlformats.org/officeDocument/2006/relationships/diagramQuickStyle" Target="../diagrams/quickStyle6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9.xml"/><Relationship Id="rId13" Type="http://schemas.openxmlformats.org/officeDocument/2006/relationships/diagramLayout" Target="../diagrams/layout70.xml"/><Relationship Id="rId18" Type="http://schemas.openxmlformats.org/officeDocument/2006/relationships/diagramLayout" Target="../diagrams/layout71.xml"/><Relationship Id="rId3" Type="http://schemas.openxmlformats.org/officeDocument/2006/relationships/diagramLayout" Target="../diagrams/layout68.xml"/><Relationship Id="rId21" Type="http://schemas.microsoft.com/office/2007/relationships/diagramDrawing" Target="../diagrams/drawing71.xml"/><Relationship Id="rId7" Type="http://schemas.openxmlformats.org/officeDocument/2006/relationships/diagramData" Target="../diagrams/data69.xml"/><Relationship Id="rId12" Type="http://schemas.openxmlformats.org/officeDocument/2006/relationships/diagramData" Target="../diagrams/data70.xml"/><Relationship Id="rId17" Type="http://schemas.openxmlformats.org/officeDocument/2006/relationships/diagramData" Target="../diagrams/data71.xml"/><Relationship Id="rId2" Type="http://schemas.openxmlformats.org/officeDocument/2006/relationships/diagramData" Target="../diagrams/data68.xml"/><Relationship Id="rId16" Type="http://schemas.microsoft.com/office/2007/relationships/diagramDrawing" Target="../diagrams/drawing70.xml"/><Relationship Id="rId20" Type="http://schemas.openxmlformats.org/officeDocument/2006/relationships/diagramColors" Target="../diagrams/colors7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8.xml"/><Relationship Id="rId11" Type="http://schemas.microsoft.com/office/2007/relationships/diagramDrawing" Target="../diagrams/drawing69.xml"/><Relationship Id="rId5" Type="http://schemas.openxmlformats.org/officeDocument/2006/relationships/diagramColors" Target="../diagrams/colors68.xml"/><Relationship Id="rId15" Type="http://schemas.openxmlformats.org/officeDocument/2006/relationships/diagramColors" Target="../diagrams/colors70.xml"/><Relationship Id="rId10" Type="http://schemas.openxmlformats.org/officeDocument/2006/relationships/diagramColors" Target="../diagrams/colors69.xml"/><Relationship Id="rId19" Type="http://schemas.openxmlformats.org/officeDocument/2006/relationships/diagramQuickStyle" Target="../diagrams/quickStyle71.xml"/><Relationship Id="rId4" Type="http://schemas.openxmlformats.org/officeDocument/2006/relationships/diagramQuickStyle" Target="../diagrams/quickStyle68.xml"/><Relationship Id="rId9" Type="http://schemas.openxmlformats.org/officeDocument/2006/relationships/diagramQuickStyle" Target="../diagrams/quickStyle69.xml"/><Relationship Id="rId14" Type="http://schemas.openxmlformats.org/officeDocument/2006/relationships/diagramQuickStyle" Target="../diagrams/quickStyle7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3.xml"/><Relationship Id="rId13" Type="http://schemas.openxmlformats.org/officeDocument/2006/relationships/diagramLayout" Target="../diagrams/layout74.xml"/><Relationship Id="rId3" Type="http://schemas.openxmlformats.org/officeDocument/2006/relationships/diagramLayout" Target="../diagrams/layout72.xml"/><Relationship Id="rId7" Type="http://schemas.openxmlformats.org/officeDocument/2006/relationships/diagramData" Target="../diagrams/data73.xml"/><Relationship Id="rId12" Type="http://schemas.openxmlformats.org/officeDocument/2006/relationships/diagramData" Target="../diagrams/data74.xml"/><Relationship Id="rId2" Type="http://schemas.openxmlformats.org/officeDocument/2006/relationships/diagramData" Target="../diagrams/data72.xml"/><Relationship Id="rId16" Type="http://schemas.microsoft.com/office/2007/relationships/diagramDrawing" Target="../diagrams/drawing7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2.xml"/><Relationship Id="rId11" Type="http://schemas.microsoft.com/office/2007/relationships/diagramDrawing" Target="../diagrams/drawing73.xml"/><Relationship Id="rId5" Type="http://schemas.openxmlformats.org/officeDocument/2006/relationships/diagramColors" Target="../diagrams/colors72.xml"/><Relationship Id="rId15" Type="http://schemas.openxmlformats.org/officeDocument/2006/relationships/diagramColors" Target="../diagrams/colors74.xml"/><Relationship Id="rId10" Type="http://schemas.openxmlformats.org/officeDocument/2006/relationships/diagramColors" Target="../diagrams/colors73.xml"/><Relationship Id="rId4" Type="http://schemas.openxmlformats.org/officeDocument/2006/relationships/diagramQuickStyle" Target="../diagrams/quickStyle72.xml"/><Relationship Id="rId9" Type="http://schemas.openxmlformats.org/officeDocument/2006/relationships/diagramQuickStyle" Target="../diagrams/quickStyle73.xml"/><Relationship Id="rId14" Type="http://schemas.openxmlformats.org/officeDocument/2006/relationships/diagramQuickStyle" Target="../diagrams/quickStyle74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6.xml"/><Relationship Id="rId13" Type="http://schemas.openxmlformats.org/officeDocument/2006/relationships/diagramLayout" Target="../diagrams/layout77.xml"/><Relationship Id="rId3" Type="http://schemas.openxmlformats.org/officeDocument/2006/relationships/diagramLayout" Target="../diagrams/layout75.xml"/><Relationship Id="rId7" Type="http://schemas.openxmlformats.org/officeDocument/2006/relationships/diagramData" Target="../diagrams/data76.xml"/><Relationship Id="rId12" Type="http://schemas.openxmlformats.org/officeDocument/2006/relationships/diagramData" Target="../diagrams/data77.xml"/><Relationship Id="rId2" Type="http://schemas.openxmlformats.org/officeDocument/2006/relationships/diagramData" Target="../diagrams/data75.xml"/><Relationship Id="rId16" Type="http://schemas.microsoft.com/office/2007/relationships/diagramDrawing" Target="../diagrams/drawing7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5.xml"/><Relationship Id="rId11" Type="http://schemas.microsoft.com/office/2007/relationships/diagramDrawing" Target="../diagrams/drawing76.xml"/><Relationship Id="rId5" Type="http://schemas.openxmlformats.org/officeDocument/2006/relationships/diagramColors" Target="../diagrams/colors75.xml"/><Relationship Id="rId15" Type="http://schemas.openxmlformats.org/officeDocument/2006/relationships/diagramColors" Target="../diagrams/colors77.xml"/><Relationship Id="rId10" Type="http://schemas.openxmlformats.org/officeDocument/2006/relationships/diagramColors" Target="../diagrams/colors76.xml"/><Relationship Id="rId4" Type="http://schemas.openxmlformats.org/officeDocument/2006/relationships/diagramQuickStyle" Target="../diagrams/quickStyle75.xml"/><Relationship Id="rId9" Type="http://schemas.openxmlformats.org/officeDocument/2006/relationships/diagramQuickStyle" Target="../diagrams/quickStyle76.xml"/><Relationship Id="rId14" Type="http://schemas.openxmlformats.org/officeDocument/2006/relationships/diagramQuickStyle" Target="../diagrams/quickStyle7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9.xml"/><Relationship Id="rId13" Type="http://schemas.openxmlformats.org/officeDocument/2006/relationships/diagramLayout" Target="../diagrams/layout80.xml"/><Relationship Id="rId18" Type="http://schemas.openxmlformats.org/officeDocument/2006/relationships/diagramLayout" Target="../diagrams/layout81.xml"/><Relationship Id="rId26" Type="http://schemas.microsoft.com/office/2007/relationships/diagramDrawing" Target="../diagrams/drawing82.xml"/><Relationship Id="rId3" Type="http://schemas.openxmlformats.org/officeDocument/2006/relationships/diagramLayout" Target="../diagrams/layout78.xml"/><Relationship Id="rId21" Type="http://schemas.microsoft.com/office/2007/relationships/diagramDrawing" Target="../diagrams/drawing81.xml"/><Relationship Id="rId34" Type="http://schemas.openxmlformats.org/officeDocument/2006/relationships/diagramQuickStyle" Target="../diagrams/quickStyle84.xml"/><Relationship Id="rId7" Type="http://schemas.openxmlformats.org/officeDocument/2006/relationships/diagramData" Target="../diagrams/data79.xml"/><Relationship Id="rId12" Type="http://schemas.openxmlformats.org/officeDocument/2006/relationships/diagramData" Target="../diagrams/data80.xml"/><Relationship Id="rId17" Type="http://schemas.openxmlformats.org/officeDocument/2006/relationships/diagramData" Target="../diagrams/data81.xml"/><Relationship Id="rId25" Type="http://schemas.openxmlformats.org/officeDocument/2006/relationships/diagramColors" Target="../diagrams/colors82.xml"/><Relationship Id="rId33" Type="http://schemas.openxmlformats.org/officeDocument/2006/relationships/diagramLayout" Target="../diagrams/layout84.xml"/><Relationship Id="rId2" Type="http://schemas.openxmlformats.org/officeDocument/2006/relationships/diagramData" Target="../diagrams/data78.xml"/><Relationship Id="rId16" Type="http://schemas.microsoft.com/office/2007/relationships/diagramDrawing" Target="../diagrams/drawing80.xml"/><Relationship Id="rId20" Type="http://schemas.openxmlformats.org/officeDocument/2006/relationships/diagramColors" Target="../diagrams/colors81.xml"/><Relationship Id="rId29" Type="http://schemas.openxmlformats.org/officeDocument/2006/relationships/diagramQuickStyle" Target="../diagrams/quickStyle8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8.xml"/><Relationship Id="rId11" Type="http://schemas.microsoft.com/office/2007/relationships/diagramDrawing" Target="../diagrams/drawing79.xml"/><Relationship Id="rId24" Type="http://schemas.openxmlformats.org/officeDocument/2006/relationships/diagramQuickStyle" Target="../diagrams/quickStyle82.xml"/><Relationship Id="rId32" Type="http://schemas.openxmlformats.org/officeDocument/2006/relationships/diagramData" Target="../diagrams/data84.xml"/><Relationship Id="rId5" Type="http://schemas.openxmlformats.org/officeDocument/2006/relationships/diagramColors" Target="../diagrams/colors78.xml"/><Relationship Id="rId15" Type="http://schemas.openxmlformats.org/officeDocument/2006/relationships/diagramColors" Target="../diagrams/colors80.xml"/><Relationship Id="rId23" Type="http://schemas.openxmlformats.org/officeDocument/2006/relationships/diagramLayout" Target="../diagrams/layout82.xml"/><Relationship Id="rId28" Type="http://schemas.openxmlformats.org/officeDocument/2006/relationships/diagramLayout" Target="../diagrams/layout83.xml"/><Relationship Id="rId36" Type="http://schemas.microsoft.com/office/2007/relationships/diagramDrawing" Target="../diagrams/drawing84.xml"/><Relationship Id="rId10" Type="http://schemas.openxmlformats.org/officeDocument/2006/relationships/diagramColors" Target="../diagrams/colors79.xml"/><Relationship Id="rId19" Type="http://schemas.openxmlformats.org/officeDocument/2006/relationships/diagramQuickStyle" Target="../diagrams/quickStyle81.xml"/><Relationship Id="rId31" Type="http://schemas.microsoft.com/office/2007/relationships/diagramDrawing" Target="../diagrams/drawing83.xml"/><Relationship Id="rId4" Type="http://schemas.openxmlformats.org/officeDocument/2006/relationships/diagramQuickStyle" Target="../diagrams/quickStyle78.xml"/><Relationship Id="rId9" Type="http://schemas.openxmlformats.org/officeDocument/2006/relationships/diagramQuickStyle" Target="../diagrams/quickStyle79.xml"/><Relationship Id="rId14" Type="http://schemas.openxmlformats.org/officeDocument/2006/relationships/diagramQuickStyle" Target="../diagrams/quickStyle80.xml"/><Relationship Id="rId22" Type="http://schemas.openxmlformats.org/officeDocument/2006/relationships/diagramData" Target="../diagrams/data82.xml"/><Relationship Id="rId27" Type="http://schemas.openxmlformats.org/officeDocument/2006/relationships/diagramData" Target="../diagrams/data83.xml"/><Relationship Id="rId30" Type="http://schemas.openxmlformats.org/officeDocument/2006/relationships/diagramColors" Target="../diagrams/colors83.xml"/><Relationship Id="rId35" Type="http://schemas.openxmlformats.org/officeDocument/2006/relationships/diagramColors" Target="../diagrams/colors8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6.xml"/><Relationship Id="rId13" Type="http://schemas.openxmlformats.org/officeDocument/2006/relationships/diagramLayout" Target="../diagrams/layout87.xml"/><Relationship Id="rId3" Type="http://schemas.openxmlformats.org/officeDocument/2006/relationships/diagramLayout" Target="../diagrams/layout85.xml"/><Relationship Id="rId7" Type="http://schemas.openxmlformats.org/officeDocument/2006/relationships/diagramData" Target="../diagrams/data86.xml"/><Relationship Id="rId12" Type="http://schemas.openxmlformats.org/officeDocument/2006/relationships/diagramData" Target="../diagrams/data87.xml"/><Relationship Id="rId2" Type="http://schemas.openxmlformats.org/officeDocument/2006/relationships/diagramData" Target="../diagrams/data85.xml"/><Relationship Id="rId16" Type="http://schemas.microsoft.com/office/2007/relationships/diagramDrawing" Target="../diagrams/drawing8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85.xml"/><Relationship Id="rId11" Type="http://schemas.microsoft.com/office/2007/relationships/diagramDrawing" Target="../diagrams/drawing86.xml"/><Relationship Id="rId5" Type="http://schemas.openxmlformats.org/officeDocument/2006/relationships/diagramColors" Target="../diagrams/colors85.xml"/><Relationship Id="rId15" Type="http://schemas.openxmlformats.org/officeDocument/2006/relationships/diagramColors" Target="../diagrams/colors87.xml"/><Relationship Id="rId10" Type="http://schemas.openxmlformats.org/officeDocument/2006/relationships/diagramColors" Target="../diagrams/colors86.xml"/><Relationship Id="rId4" Type="http://schemas.openxmlformats.org/officeDocument/2006/relationships/diagramQuickStyle" Target="../diagrams/quickStyle85.xml"/><Relationship Id="rId9" Type="http://schemas.openxmlformats.org/officeDocument/2006/relationships/diagramQuickStyle" Target="../diagrams/quickStyle86.xml"/><Relationship Id="rId14" Type="http://schemas.openxmlformats.org/officeDocument/2006/relationships/diagramQuickStyle" Target="../diagrams/quickStyle8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8.xml"/><Relationship Id="rId7" Type="http://schemas.microsoft.com/office/2007/relationships/diagramDrawing" Target="../diagrams/drawing8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88.xml"/><Relationship Id="rId5" Type="http://schemas.openxmlformats.org/officeDocument/2006/relationships/diagramQuickStyle" Target="../diagrams/quickStyle88.xml"/><Relationship Id="rId4" Type="http://schemas.openxmlformats.org/officeDocument/2006/relationships/diagramLayout" Target="../diagrams/layout8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9.xml"/><Relationship Id="rId7" Type="http://schemas.microsoft.com/office/2007/relationships/diagramDrawing" Target="../diagrams/drawing8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89.xml"/><Relationship Id="rId5" Type="http://schemas.openxmlformats.org/officeDocument/2006/relationships/diagramQuickStyle" Target="../diagrams/quickStyle89.xml"/><Relationship Id="rId4" Type="http://schemas.openxmlformats.org/officeDocument/2006/relationships/diagramLayout" Target="../diagrams/layout8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mailto:strategia.innovazione@regione.sicilia.it" TargetMode="External"/><Relationship Id="rId2" Type="http://schemas.openxmlformats.org/officeDocument/2006/relationships/hyperlink" Target="http://www.innovatoripa.it/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13" Type="http://schemas.openxmlformats.org/officeDocument/2006/relationships/diagramLayout" Target="../diagrams/layout9.xml"/><Relationship Id="rId18" Type="http://schemas.openxmlformats.org/officeDocument/2006/relationships/diagramLayout" Target="../diagrams/layout10.xml"/><Relationship Id="rId3" Type="http://schemas.openxmlformats.org/officeDocument/2006/relationships/diagramLayout" Target="../diagrams/layout7.xml"/><Relationship Id="rId21" Type="http://schemas.microsoft.com/office/2007/relationships/diagramDrawing" Target="../diagrams/drawing10.xml"/><Relationship Id="rId7" Type="http://schemas.openxmlformats.org/officeDocument/2006/relationships/diagramData" Target="../diagrams/data8.xml"/><Relationship Id="rId12" Type="http://schemas.openxmlformats.org/officeDocument/2006/relationships/diagramData" Target="../diagrams/data9.xml"/><Relationship Id="rId17" Type="http://schemas.openxmlformats.org/officeDocument/2006/relationships/diagramData" Target="../diagrams/data10.xml"/><Relationship Id="rId2" Type="http://schemas.openxmlformats.org/officeDocument/2006/relationships/diagramData" Target="../diagrams/data7.xml"/><Relationship Id="rId16" Type="http://schemas.microsoft.com/office/2007/relationships/diagramDrawing" Target="../diagrams/drawing9.xml"/><Relationship Id="rId20" Type="http://schemas.openxmlformats.org/officeDocument/2006/relationships/diagramColors" Target="../diagrams/colors10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5" Type="http://schemas.openxmlformats.org/officeDocument/2006/relationships/diagramColors" Target="../diagrams/colors9.xml"/><Relationship Id="rId10" Type="http://schemas.openxmlformats.org/officeDocument/2006/relationships/diagramColors" Target="../diagrams/colors8.xml"/><Relationship Id="rId19" Type="http://schemas.openxmlformats.org/officeDocument/2006/relationships/diagramQuickStyle" Target="../diagrams/quickStyle10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Relationship Id="rId14" Type="http://schemas.openxmlformats.org/officeDocument/2006/relationships/diagramQuickStyle" Target="../diagrams/quickStyle9.xml"/><Relationship Id="rId22" Type="http://schemas.openxmlformats.org/officeDocument/2006/relationships/image" Target="../media/image10.w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diagramLayout" Target="../diagrams/layout11.xml"/><Relationship Id="rId7" Type="http://schemas.openxmlformats.org/officeDocument/2006/relationships/diagramData" Target="../diagrams/data12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1.xml"/><Relationship Id="rId11" Type="http://schemas.microsoft.com/office/2007/relationships/diagramDrawing" Target="../diagrams/drawing12.xml"/><Relationship Id="rId5" Type="http://schemas.openxmlformats.org/officeDocument/2006/relationships/diagramColors" Target="../diagrams/colors11.xml"/><Relationship Id="rId10" Type="http://schemas.openxmlformats.org/officeDocument/2006/relationships/diagramColors" Target="../diagrams/colors12.xml"/><Relationship Id="rId4" Type="http://schemas.openxmlformats.org/officeDocument/2006/relationships/diagramQuickStyle" Target="../diagrams/quickStyle11.xml"/><Relationship Id="rId9" Type="http://schemas.openxmlformats.org/officeDocument/2006/relationships/diagramQuickStyle" Target="../diagrams/quickStyle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4.xml"/><Relationship Id="rId3" Type="http://schemas.openxmlformats.org/officeDocument/2006/relationships/diagramLayout" Target="../diagrams/layout13.xml"/><Relationship Id="rId7" Type="http://schemas.openxmlformats.org/officeDocument/2006/relationships/diagramData" Target="../diagrams/data14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3.xml"/><Relationship Id="rId11" Type="http://schemas.microsoft.com/office/2007/relationships/diagramDrawing" Target="../diagrams/drawing14.xml"/><Relationship Id="rId5" Type="http://schemas.openxmlformats.org/officeDocument/2006/relationships/diagramColors" Target="../diagrams/colors13.xml"/><Relationship Id="rId10" Type="http://schemas.openxmlformats.org/officeDocument/2006/relationships/diagramColors" Target="../diagrams/colors14.xml"/><Relationship Id="rId4" Type="http://schemas.openxmlformats.org/officeDocument/2006/relationships/diagramQuickStyle" Target="../diagrams/quickStyle13.xml"/><Relationship Id="rId9" Type="http://schemas.openxmlformats.org/officeDocument/2006/relationships/diagramQuickStyle" Target="../diagrams/quickStyle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6.xml"/><Relationship Id="rId3" Type="http://schemas.openxmlformats.org/officeDocument/2006/relationships/diagramLayout" Target="../diagrams/layout15.xml"/><Relationship Id="rId7" Type="http://schemas.openxmlformats.org/officeDocument/2006/relationships/diagramData" Target="../diagrams/data16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5.xml"/><Relationship Id="rId11" Type="http://schemas.microsoft.com/office/2007/relationships/diagramDrawing" Target="../diagrams/drawing16.xml"/><Relationship Id="rId5" Type="http://schemas.openxmlformats.org/officeDocument/2006/relationships/diagramColors" Target="../diagrams/colors15.xml"/><Relationship Id="rId10" Type="http://schemas.openxmlformats.org/officeDocument/2006/relationships/diagramColors" Target="../diagrams/colors16.xml"/><Relationship Id="rId4" Type="http://schemas.openxmlformats.org/officeDocument/2006/relationships/diagramQuickStyle" Target="../diagrams/quickStyle15.xml"/><Relationship Id="rId9" Type="http://schemas.openxmlformats.org/officeDocument/2006/relationships/diagramQuickStyle" Target="../diagrams/quickStyle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69" name="Object 19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07995" y="1131654"/>
            <a:ext cx="8724900" cy="73866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it-IT" altLang="it-IT" sz="2400" b="1" dirty="0">
                <a:solidFill>
                  <a:srgbClr val="0B538F"/>
                </a:solidFill>
                <a:latin typeface="Neo Sans Std Medium" pitchFamily="34" charset="0"/>
              </a:rPr>
              <a:t>TAVOLO TEMATICO </a:t>
            </a:r>
            <a:endParaRPr lang="it-IT" altLang="it-IT" sz="2400" b="1" dirty="0" smtClean="0">
              <a:solidFill>
                <a:srgbClr val="0B538F"/>
              </a:solidFill>
              <a:latin typeface="Neo Sans Std Medium" pitchFamily="34" charset="0"/>
            </a:endParaRPr>
          </a:p>
          <a:p>
            <a:pPr algn="ctr">
              <a:defRPr/>
            </a:pPr>
            <a:r>
              <a:rPr lang="it-IT" altLang="it-IT" sz="2400" b="1" dirty="0" smtClean="0">
                <a:solidFill>
                  <a:srgbClr val="0B538F"/>
                </a:solidFill>
                <a:latin typeface="Neo Sans Std Medium" pitchFamily="34" charset="0"/>
              </a:rPr>
              <a:t>SCIENZE DELLA VITA</a:t>
            </a:r>
            <a:endParaRPr lang="en-US" sz="2400" b="1" dirty="0">
              <a:solidFill>
                <a:srgbClr val="0B538F"/>
              </a:solidFill>
              <a:latin typeface="Neo Sans Std Medium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4662855" y="-1183716"/>
            <a:ext cx="0" cy="6345115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72" name="Immagine 38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15837" y="2171855"/>
            <a:ext cx="2094035" cy="109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3" name="Rettangolo 5"/>
          <p:cNvSpPr>
            <a:spLocks noChangeArrowheads="1"/>
          </p:cNvSpPr>
          <p:nvPr/>
        </p:nvSpPr>
        <p:spPr bwMode="auto">
          <a:xfrm>
            <a:off x="548054" y="3839562"/>
            <a:ext cx="770938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sz="1600" b="1" dirty="0" smtClean="0">
                <a:solidFill>
                  <a:srgbClr val="0B538F"/>
                </a:solidFill>
                <a:latin typeface="Neo Sans Std Medium"/>
              </a:rPr>
              <a:t>Agenda dei Lavori</a:t>
            </a:r>
            <a:endParaRPr lang="it-IT" sz="1600" b="1" dirty="0">
              <a:solidFill>
                <a:srgbClr val="0B538F"/>
              </a:solidFill>
              <a:latin typeface="Neo Sans Std Medium"/>
            </a:endParaRPr>
          </a:p>
        </p:txBody>
      </p:sp>
      <p:sp>
        <p:nvSpPr>
          <p:cNvPr id="3274" name="CasellaDiTesto 6"/>
          <p:cNvSpPr txBox="1">
            <a:spLocks noChangeArrowheads="1"/>
          </p:cNvSpPr>
          <p:nvPr/>
        </p:nvSpPr>
        <p:spPr bwMode="auto">
          <a:xfrm>
            <a:off x="1954823" y="4868863"/>
            <a:ext cx="489585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it-IT" sz="800" b="1" dirty="0">
              <a:solidFill>
                <a:srgbClr val="0B538F"/>
              </a:solidFill>
              <a:latin typeface="Neo Sans Std Medium"/>
            </a:endParaRPr>
          </a:p>
          <a:p>
            <a:pPr algn="ctr"/>
            <a:r>
              <a:rPr lang="it-IT" sz="1200" b="1" dirty="0" smtClean="0">
                <a:solidFill>
                  <a:srgbClr val="0B538F"/>
                </a:solidFill>
                <a:latin typeface="Neo Sans Std Medium"/>
              </a:rPr>
              <a:t>Gruppo </a:t>
            </a:r>
            <a:r>
              <a:rPr lang="it-IT" sz="1200" b="1" dirty="0">
                <a:solidFill>
                  <a:srgbClr val="0B538F"/>
                </a:solidFill>
                <a:latin typeface="Neo Sans Std Medium"/>
              </a:rPr>
              <a:t>di Lavoro Interdipartimentale per la RIS 3 Sicilia</a:t>
            </a:r>
          </a:p>
          <a:p>
            <a:pPr algn="ctr"/>
            <a:r>
              <a:rPr lang="it-IT" sz="1200" b="1" dirty="0">
                <a:solidFill>
                  <a:srgbClr val="0B538F"/>
                </a:solidFill>
                <a:latin typeface="Neo Sans Std Medium"/>
              </a:rPr>
              <a:t>Palermo, </a:t>
            </a:r>
            <a:r>
              <a:rPr lang="it-IT" sz="1200" b="1" dirty="0" smtClean="0">
                <a:solidFill>
                  <a:srgbClr val="0B538F"/>
                </a:solidFill>
                <a:latin typeface="Neo Sans Std Medium"/>
              </a:rPr>
              <a:t>9 Maggio 2014</a:t>
            </a:r>
            <a:endParaRPr lang="it-IT" sz="1200" dirty="0">
              <a:solidFill>
                <a:srgbClr val="0B538F"/>
              </a:solidFill>
              <a:latin typeface="Neo Sans Std Medium"/>
            </a:endParaRPr>
          </a:p>
          <a:p>
            <a:pPr algn="ctr"/>
            <a:endParaRPr lang="it-IT" sz="1200" dirty="0" smtClean="0">
              <a:solidFill>
                <a:srgbClr val="0B538F"/>
              </a:solidFill>
              <a:latin typeface="Neo Sans Std Medium"/>
            </a:endParaRPr>
          </a:p>
          <a:p>
            <a:pPr algn="ctr"/>
            <a:endParaRPr lang="it-IT" sz="1200" dirty="0" smtClean="0">
              <a:solidFill>
                <a:srgbClr val="0B538F"/>
              </a:solidFill>
              <a:latin typeface="Neo Sans Std Medium"/>
            </a:endParaRPr>
          </a:p>
          <a:p>
            <a:pPr algn="ctr"/>
            <a:r>
              <a:rPr lang="it-IT" sz="1200" dirty="0" smtClean="0">
                <a:solidFill>
                  <a:srgbClr val="0B538F"/>
                </a:solidFill>
                <a:latin typeface="Neo Sans Std Medium"/>
              </a:rPr>
              <a:t>Consorzio ARCA</a:t>
            </a:r>
          </a:p>
          <a:p>
            <a:pPr algn="ctr"/>
            <a:r>
              <a:rPr lang="it-IT" sz="1200" dirty="0" smtClean="0">
                <a:solidFill>
                  <a:srgbClr val="0B538F"/>
                </a:solidFill>
                <a:latin typeface="Neo Sans Std Medium"/>
              </a:rPr>
              <a:t>Edificio 16, viale delle Scienze</a:t>
            </a:r>
            <a:endParaRPr lang="it-IT" sz="1200" b="1" dirty="0">
              <a:solidFill>
                <a:srgbClr val="0B538F"/>
              </a:solidFill>
              <a:latin typeface="Neo Sans Std Medium"/>
            </a:endParaRPr>
          </a:p>
        </p:txBody>
      </p:sp>
    </p:spTree>
    <p:extLst>
      <p:ext uri="{BB962C8B-B14F-4D97-AF65-F5344CB8AC3E}">
        <p14:creationId xmlns:p14="http://schemas.microsoft.com/office/powerpoint/2010/main" val="353549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a 2"/>
          <p:cNvGraphicFramePr>
            <a:graphicFrameLocks noGrp="1"/>
          </p:cNvGraphicFramePr>
          <p:nvPr>
            <p:extLst/>
          </p:nvPr>
        </p:nvGraphicFramePr>
        <p:xfrm>
          <a:off x="1187624" y="2204864"/>
          <a:ext cx="7200800" cy="3168838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45072"/>
                <a:gridCol w="974975"/>
                <a:gridCol w="5180753"/>
              </a:tblGrid>
              <a:tr h="36658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:2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:15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i ambiti di specializzazione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6583">
                <a:tc rowSpan="3" gridSpan="2">
                  <a:txBody>
                    <a:bodyPr/>
                    <a:lstStyle/>
                    <a:p>
                      <a:pPr algn="ctr" fontAlgn="t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e Siciliana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SE-MIUR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VVIP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EZ PA</a:t>
                      </a:r>
                    </a:p>
                  </a:txBody>
                  <a:tcPr marL="9525" marR="9525" marT="9525" marB="0"/>
                </a:tc>
                <a:tc rowSpan="3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fontAlgn="b" latinLnBrk="0" hangingPunct="1"/>
                      <a:endParaRPr lang="it-IT" sz="1400" b="1" u="none" strike="noStrike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imitazione </a:t>
                      </a:r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bito tematico </a:t>
                      </a:r>
                      <a:endParaRPr lang="it-IT" sz="1400" b="1" u="none" strike="noStrike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iti del tavoli </a:t>
                      </a:r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zionali</a:t>
                      </a:r>
                    </a:p>
                    <a:p>
                      <a:pPr marL="0" algn="just" defTabSz="914400" rtl="0" eaLnBrk="1" fontAlgn="b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o dell'arte e ambiti di approfondimento dell'ambito:</a:t>
                      </a:r>
                      <a:b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a produttivo</a:t>
                      </a: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a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oscenze </a:t>
                      </a:r>
                      <a:endParaRPr lang="it-IT" sz="1400" b="1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dicazioni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ità</a:t>
                      </a: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ibuto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T </a:t>
                      </a:r>
                      <a:endParaRPr lang="it-IT" sz="1400" b="1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olo dell'innovazione sociale </a:t>
                      </a:r>
                      <a:endParaRPr lang="it-IT" sz="1400" b="1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tersezione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 altri ambiti tecnologici e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ttivi</a:t>
                      </a:r>
                    </a:p>
                    <a:p>
                      <a:pPr marL="0" algn="just" defTabSz="914400" rtl="0" eaLnBrk="1" fontAlgn="b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1259632" y="1844824"/>
          <a:ext cx="712879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56012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131170"/>
            <a:ext cx="2057400" cy="3370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7F82A082-D13F-44DA-8257-855D720B2527}" type="slidenum">
              <a:rPr lang="en-US"/>
              <a:pPr/>
              <a:t>11</a:t>
            </a:fld>
            <a:r>
              <a:rPr lang="en-US"/>
              <a:t>|</a:t>
            </a:r>
          </a:p>
        </p:txBody>
      </p:sp>
      <p:grpSp>
        <p:nvGrpSpPr>
          <p:cNvPr id="32770" name="Gruppo 9"/>
          <p:cNvGrpSpPr>
            <a:grpSpLocks/>
          </p:cNvGrpSpPr>
          <p:nvPr/>
        </p:nvGrpSpPr>
        <p:grpSpPr bwMode="auto">
          <a:xfrm>
            <a:off x="2757854" y="1238250"/>
            <a:ext cx="5930412" cy="5035062"/>
            <a:chOff x="2088859" y="836713"/>
            <a:chExt cx="6392531" cy="5453162"/>
          </a:xfrm>
        </p:grpSpPr>
        <p:graphicFrame>
          <p:nvGraphicFramePr>
            <p:cNvPr id="48" name="Diagramma 47"/>
            <p:cNvGraphicFramePr/>
            <p:nvPr/>
          </p:nvGraphicFramePr>
          <p:xfrm>
            <a:off x="3951012" y="2432634"/>
            <a:ext cx="2519154" cy="223179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pSp>
          <p:nvGrpSpPr>
            <p:cNvPr id="32784" name="Group 1"/>
            <p:cNvGrpSpPr>
              <a:grpSpLocks/>
            </p:cNvGrpSpPr>
            <p:nvPr/>
          </p:nvGrpSpPr>
          <p:grpSpPr bwMode="auto">
            <a:xfrm>
              <a:off x="2088859" y="836713"/>
              <a:ext cx="6392531" cy="5453162"/>
              <a:chOff x="1616075" y="669925"/>
              <a:chExt cx="6077711" cy="5515510"/>
            </a:xfrm>
          </p:grpSpPr>
          <p:sp>
            <p:nvSpPr>
              <p:cNvPr id="50" name="Krans 44"/>
              <p:cNvSpPr>
                <a:spLocks noChangeArrowheads="1"/>
              </p:cNvSpPr>
              <p:nvPr/>
            </p:nvSpPr>
            <p:spPr bwMode="auto">
              <a:xfrm>
                <a:off x="3005224" y="1801599"/>
                <a:ext cx="3171763" cy="3168689"/>
              </a:xfrm>
              <a:custGeom>
                <a:avLst/>
                <a:gdLst>
                  <a:gd name="T0" fmla="*/ 1585913 w 3171825"/>
                  <a:gd name="T1" fmla="*/ 0 h 3170238"/>
                  <a:gd name="T2" fmla="*/ 464503 w 3171825"/>
                  <a:gd name="T3" fmla="*/ 464270 h 3170238"/>
                  <a:gd name="T4" fmla="*/ 0 w 3171825"/>
                  <a:gd name="T5" fmla="*/ 1585119 h 3170238"/>
                  <a:gd name="T6" fmla="*/ 464503 w 3171825"/>
                  <a:gd name="T7" fmla="*/ 2705968 h 3170238"/>
                  <a:gd name="T8" fmla="*/ 1585913 w 3171825"/>
                  <a:gd name="T9" fmla="*/ 3170238 h 3170238"/>
                  <a:gd name="T10" fmla="*/ 2707322 w 3171825"/>
                  <a:gd name="T11" fmla="*/ 2705968 h 3170238"/>
                  <a:gd name="T12" fmla="*/ 3171825 w 3171825"/>
                  <a:gd name="T13" fmla="*/ 1585119 h 3170238"/>
                  <a:gd name="T14" fmla="*/ 2707322 w 3171825"/>
                  <a:gd name="T15" fmla="*/ 464270 h 3170238"/>
                  <a:gd name="T16" fmla="*/ 17694720 60000 65536"/>
                  <a:gd name="T17" fmla="*/ 17694720 60000 65536"/>
                  <a:gd name="T18" fmla="*/ 11796480 60000 65536"/>
                  <a:gd name="T19" fmla="*/ 5898240 60000 65536"/>
                  <a:gd name="T20" fmla="*/ 5898240 60000 65536"/>
                  <a:gd name="T21" fmla="*/ 5898240 60000 65536"/>
                  <a:gd name="T22" fmla="*/ 0 60000 65536"/>
                  <a:gd name="T23" fmla="*/ 17694720 60000 65536"/>
                  <a:gd name="T24" fmla="*/ 464503 w 3171825"/>
                  <a:gd name="T25" fmla="*/ 464270 h 3170238"/>
                  <a:gd name="T26" fmla="*/ 2707322 w 3171825"/>
                  <a:gd name="T27" fmla="*/ 2705968 h 31702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171825" h="3170238">
                    <a:moveTo>
                      <a:pt x="0" y="1585119"/>
                    </a:moveTo>
                    <a:lnTo>
                      <a:pt x="0" y="1585119"/>
                    </a:lnTo>
                    <a:cubicBezTo>
                      <a:pt x="1" y="709682"/>
                      <a:pt x="710038" y="1"/>
                      <a:pt x="1585913" y="1"/>
                    </a:cubicBezTo>
                    <a:cubicBezTo>
                      <a:pt x="1585914" y="1"/>
                      <a:pt x="1585914" y="2"/>
                      <a:pt x="1585915" y="2"/>
                    </a:cubicBezTo>
                    <a:cubicBezTo>
                      <a:pt x="2461790" y="3"/>
                      <a:pt x="3171827" y="709684"/>
                      <a:pt x="3171827" y="1585121"/>
                    </a:cubicBezTo>
                    <a:cubicBezTo>
                      <a:pt x="3171827" y="1585121"/>
                      <a:pt x="3171826" y="1585122"/>
                      <a:pt x="3171826" y="1585123"/>
                    </a:cubicBezTo>
                    <a:lnTo>
                      <a:pt x="3171827" y="1585124"/>
                    </a:lnTo>
                    <a:cubicBezTo>
                      <a:pt x="3171827" y="2460561"/>
                      <a:pt x="2461789" y="3170243"/>
                      <a:pt x="1585914" y="3170243"/>
                    </a:cubicBezTo>
                    <a:cubicBezTo>
                      <a:pt x="1585913" y="3170242"/>
                      <a:pt x="1585913" y="3170242"/>
                      <a:pt x="1585913" y="3170242"/>
                    </a:cubicBezTo>
                    <a:cubicBezTo>
                      <a:pt x="710037" y="3170242"/>
                      <a:pt x="1" y="2460560"/>
                      <a:pt x="1" y="1585124"/>
                    </a:cubicBezTo>
                    <a:cubicBezTo>
                      <a:pt x="1" y="1585123"/>
                      <a:pt x="1" y="1585122"/>
                      <a:pt x="1" y="1585122"/>
                    </a:cubicBezTo>
                    <a:close/>
                    <a:moveTo>
                      <a:pt x="529810" y="1585119"/>
                    </a:moveTo>
                    <a:lnTo>
                      <a:pt x="529810" y="1585119"/>
                    </a:lnTo>
                    <a:cubicBezTo>
                      <a:pt x="529810" y="1585119"/>
                      <a:pt x="529809" y="1585119"/>
                      <a:pt x="529809" y="1585119"/>
                    </a:cubicBezTo>
                    <a:cubicBezTo>
                      <a:pt x="529809" y="2167950"/>
                      <a:pt x="1002642" y="2640428"/>
                      <a:pt x="1585910" y="2640428"/>
                    </a:cubicBezTo>
                    <a:lnTo>
                      <a:pt x="1585911" y="2640428"/>
                    </a:lnTo>
                    <a:cubicBezTo>
                      <a:pt x="1585911" y="2640428"/>
                      <a:pt x="1585911" y="2640428"/>
                      <a:pt x="1585912" y="2640428"/>
                    </a:cubicBezTo>
                    <a:cubicBezTo>
                      <a:pt x="2169180" y="2640428"/>
                      <a:pt x="2642013" y="2167951"/>
                      <a:pt x="2642013" y="1585120"/>
                    </a:cubicBezTo>
                    <a:lnTo>
                      <a:pt x="2642014" y="1585121"/>
                    </a:lnTo>
                    <a:cubicBezTo>
                      <a:pt x="2642014" y="1002289"/>
                      <a:pt x="2169181" y="529812"/>
                      <a:pt x="1585912" y="529812"/>
                    </a:cubicBezTo>
                    <a:lnTo>
                      <a:pt x="1585911" y="529812"/>
                    </a:lnTo>
                    <a:cubicBezTo>
                      <a:pt x="1585911" y="529812"/>
                      <a:pt x="1585911" y="529811"/>
                      <a:pt x="1585911" y="529811"/>
                    </a:cubicBezTo>
                    <a:cubicBezTo>
                      <a:pt x="1002642" y="529811"/>
                      <a:pt x="529809" y="1002289"/>
                      <a:pt x="529809" y="158512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E6E6E6"/>
                  </a:gs>
                  <a:gs pos="100000">
                    <a:srgbClr val="FFFFFF"/>
                  </a:gs>
                </a:gsLst>
                <a:lin ang="16200000"/>
              </a:gradFill>
              <a:ln w="12700">
                <a:solidFill>
                  <a:srgbClr val="BFBFBF"/>
                </a:solidFill>
                <a:miter lim="800000"/>
                <a:headEnd/>
                <a:tailEnd/>
              </a:ln>
              <a:effectLst>
                <a:outerShdw blurRad="63500" dist="38100" dir="2700000" algn="tl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015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52" name="Rektangulær billedforklaring 50"/>
              <p:cNvSpPr>
                <a:spLocks noChangeArrowheads="1"/>
              </p:cNvSpPr>
              <p:nvPr/>
            </p:nvSpPr>
            <p:spPr bwMode="auto">
              <a:xfrm>
                <a:off x="5100209" y="840078"/>
                <a:ext cx="1195418" cy="889288"/>
              </a:xfrm>
              <a:prstGeom prst="wedgeRectCallout">
                <a:avLst>
                  <a:gd name="adj1" fmla="val -29778"/>
                  <a:gd name="adj2" fmla="val 68806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787" name="Rektangel 51"/>
              <p:cNvSpPr>
                <a:spLocks noChangeArrowheads="1"/>
              </p:cNvSpPr>
              <p:nvPr/>
            </p:nvSpPr>
            <p:spPr bwMode="auto">
              <a:xfrm>
                <a:off x="5026328" y="911092"/>
                <a:ext cx="1206500" cy="7981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Marzo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Analisi di contesto</a:t>
                </a:r>
              </a:p>
            </p:txBody>
          </p:sp>
          <p:sp>
            <p:nvSpPr>
              <p:cNvPr id="56" name="Rektangulær billedforklaring 52"/>
              <p:cNvSpPr>
                <a:spLocks noChangeArrowheads="1"/>
              </p:cNvSpPr>
              <p:nvPr/>
            </p:nvSpPr>
            <p:spPr bwMode="auto">
              <a:xfrm>
                <a:off x="6213029" y="1251012"/>
                <a:ext cx="1282522" cy="1081913"/>
              </a:xfrm>
              <a:prstGeom prst="wedgeRectCallout">
                <a:avLst>
                  <a:gd name="adj1" fmla="val -91509"/>
                  <a:gd name="adj2" fmla="val 49977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789" name="Rektangel 53"/>
              <p:cNvSpPr>
                <a:spLocks noChangeArrowheads="1"/>
              </p:cNvSpPr>
              <p:nvPr/>
            </p:nvSpPr>
            <p:spPr bwMode="auto">
              <a:xfrm>
                <a:off x="6271824" y="1292096"/>
                <a:ext cx="1359997" cy="1538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Aprile’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Individuazione Principi guida  cambiamento</a:t>
                </a:r>
              </a:p>
              <a:p>
                <a:pPr defTabSz="740038">
                  <a:spcBef>
                    <a:spcPct val="20000"/>
                  </a:spcBef>
                </a:pPr>
                <a:endParaRPr lang="it-IT" sz="1292" b="1" noProof="1">
                  <a:solidFill>
                    <a:srgbClr val="080808"/>
                  </a:solidFill>
                  <a:latin typeface="Calibri" pitchFamily="34" charset="0"/>
                  <a:cs typeface="Arial" charset="0"/>
                </a:endParaRPr>
              </a:p>
              <a:p>
                <a:pPr defTabSz="740038">
                  <a:spcBef>
                    <a:spcPct val="20000"/>
                  </a:spcBef>
                </a:pPr>
                <a:endParaRPr lang="it-IT" sz="1292" b="1" noProof="1">
                  <a:solidFill>
                    <a:srgbClr val="080808"/>
                  </a:solidFill>
                  <a:latin typeface="Calibri" pitchFamily="34" charset="0"/>
                  <a:cs typeface="Arial" charset="0"/>
                </a:endParaRPr>
              </a:p>
            </p:txBody>
          </p:sp>
          <p:sp>
            <p:nvSpPr>
              <p:cNvPr id="58" name="Rektangulær billedforklaring 54"/>
              <p:cNvSpPr>
                <a:spLocks noChangeArrowheads="1"/>
              </p:cNvSpPr>
              <p:nvPr/>
            </p:nvSpPr>
            <p:spPr bwMode="auto">
              <a:xfrm>
                <a:off x="6340680" y="2392317"/>
                <a:ext cx="1353106" cy="958312"/>
              </a:xfrm>
              <a:prstGeom prst="wedgeRectCallout">
                <a:avLst>
                  <a:gd name="adj1" fmla="val -73676"/>
                  <a:gd name="adj2" fmla="val 16556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791" name="Rektangel 55"/>
              <p:cNvSpPr>
                <a:spLocks noChangeArrowheads="1"/>
              </p:cNvSpPr>
              <p:nvPr/>
            </p:nvSpPr>
            <p:spPr bwMode="auto">
              <a:xfrm>
                <a:off x="6430472" y="2464131"/>
                <a:ext cx="1173794" cy="7981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Giugno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en-US" sz="1292" b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Peer Review a Faro</a:t>
                </a:r>
              </a:p>
            </p:txBody>
          </p:sp>
          <p:sp>
            <p:nvSpPr>
              <p:cNvPr id="60" name="Freeform 100"/>
              <p:cNvSpPr>
                <a:spLocks/>
              </p:cNvSpPr>
              <p:nvPr/>
            </p:nvSpPr>
            <p:spPr bwMode="auto">
              <a:xfrm>
                <a:off x="4615134" y="1899518"/>
                <a:ext cx="720855" cy="496010"/>
              </a:xfrm>
              <a:custGeom>
                <a:avLst/>
                <a:gdLst>
                  <a:gd name="T0" fmla="*/ 2147483647 w 454"/>
                  <a:gd name="T1" fmla="*/ 2147483647 h 312"/>
                  <a:gd name="T2" fmla="*/ 2147483647 w 454"/>
                  <a:gd name="T3" fmla="*/ 2147483647 h 312"/>
                  <a:gd name="T4" fmla="*/ 2147483647 w 454"/>
                  <a:gd name="T5" fmla="*/ 2147483647 h 312"/>
                  <a:gd name="T6" fmla="*/ 2147483647 w 454"/>
                  <a:gd name="T7" fmla="*/ 2147483647 h 312"/>
                  <a:gd name="T8" fmla="*/ 2147483647 w 454"/>
                  <a:gd name="T9" fmla="*/ 2147483647 h 312"/>
                  <a:gd name="T10" fmla="*/ 2147483647 w 454"/>
                  <a:gd name="T11" fmla="*/ 2147483647 h 312"/>
                  <a:gd name="T12" fmla="*/ 2147483647 w 454"/>
                  <a:gd name="T13" fmla="*/ 2147483647 h 312"/>
                  <a:gd name="T14" fmla="*/ 2147483647 w 454"/>
                  <a:gd name="T15" fmla="*/ 2147483647 h 312"/>
                  <a:gd name="T16" fmla="*/ 2147483647 w 454"/>
                  <a:gd name="T17" fmla="*/ 2147483647 h 312"/>
                  <a:gd name="T18" fmla="*/ 0 w 454"/>
                  <a:gd name="T19" fmla="*/ 0 h 312"/>
                  <a:gd name="T20" fmla="*/ 0 w 454"/>
                  <a:gd name="T21" fmla="*/ 2147483647 h 312"/>
                  <a:gd name="T22" fmla="*/ 0 w 454"/>
                  <a:gd name="T23" fmla="*/ 2147483647 h 312"/>
                  <a:gd name="T24" fmla="*/ 2147483647 w 454"/>
                  <a:gd name="T25" fmla="*/ 2147483647 h 312"/>
                  <a:gd name="T26" fmla="*/ 2147483647 w 454"/>
                  <a:gd name="T27" fmla="*/ 2147483647 h 312"/>
                  <a:gd name="T28" fmla="*/ 2147483647 w 454"/>
                  <a:gd name="T29" fmla="*/ 2147483647 h 312"/>
                  <a:gd name="T30" fmla="*/ 2147483647 w 454"/>
                  <a:gd name="T31" fmla="*/ 2147483647 h 312"/>
                  <a:gd name="T32" fmla="*/ 2147483647 w 454"/>
                  <a:gd name="T33" fmla="*/ 2147483647 h 312"/>
                  <a:gd name="T34" fmla="*/ 2147483647 w 454"/>
                  <a:gd name="T35" fmla="*/ 2147483647 h 312"/>
                  <a:gd name="T36" fmla="*/ 2147483647 w 454"/>
                  <a:gd name="T37" fmla="*/ 2147483647 h 312"/>
                  <a:gd name="T38" fmla="*/ 2147483647 w 454"/>
                  <a:gd name="T39" fmla="*/ 2147483647 h 312"/>
                  <a:gd name="T40" fmla="*/ 2147483647 w 454"/>
                  <a:gd name="T41" fmla="*/ 2147483647 h 3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2"/>
                  <a:gd name="T65" fmla="*/ 454 w 454"/>
                  <a:gd name="T66" fmla="*/ 312 h 3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2">
                    <a:moveTo>
                      <a:pt x="454" y="122"/>
                    </a:moveTo>
                    <a:lnTo>
                      <a:pt x="454" y="122"/>
                    </a:lnTo>
                    <a:lnTo>
                      <a:pt x="402" y="94"/>
                    </a:lnTo>
                    <a:lnTo>
                      <a:pt x="348" y="70"/>
                    </a:lnTo>
                    <a:lnTo>
                      <a:pt x="292" y="48"/>
                    </a:lnTo>
                    <a:lnTo>
                      <a:pt x="236" y="32"/>
                    </a:lnTo>
                    <a:lnTo>
                      <a:pt x="178" y="18"/>
                    </a:lnTo>
                    <a:lnTo>
                      <a:pt x="118" y="8"/>
                    </a:lnTo>
                    <a:lnTo>
                      <a:pt x="60" y="2"/>
                    </a:lnTo>
                    <a:lnTo>
                      <a:pt x="0" y="0"/>
                    </a:lnTo>
                    <a:lnTo>
                      <a:pt x="0" y="220"/>
                    </a:lnTo>
                    <a:lnTo>
                      <a:pt x="46" y="220"/>
                    </a:lnTo>
                    <a:lnTo>
                      <a:pt x="90" y="224"/>
                    </a:lnTo>
                    <a:lnTo>
                      <a:pt x="134" y="232"/>
                    </a:lnTo>
                    <a:lnTo>
                      <a:pt x="178" y="242"/>
                    </a:lnTo>
                    <a:lnTo>
                      <a:pt x="222" y="256"/>
                    </a:lnTo>
                    <a:lnTo>
                      <a:pt x="264" y="272"/>
                    </a:lnTo>
                    <a:lnTo>
                      <a:pt x="306" y="290"/>
                    </a:lnTo>
                    <a:lnTo>
                      <a:pt x="346" y="312"/>
                    </a:lnTo>
                    <a:lnTo>
                      <a:pt x="454" y="122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923" dirty="0"/>
              </a:p>
            </p:txBody>
          </p:sp>
          <p:sp>
            <p:nvSpPr>
              <p:cNvPr id="61" name="Freeform 101"/>
              <p:cNvSpPr>
                <a:spLocks/>
              </p:cNvSpPr>
              <p:nvPr/>
            </p:nvSpPr>
            <p:spPr bwMode="auto">
              <a:xfrm>
                <a:off x="5188814" y="2109800"/>
                <a:ext cx="701332" cy="701478"/>
              </a:xfrm>
              <a:custGeom>
                <a:avLst/>
                <a:gdLst>
                  <a:gd name="T0" fmla="*/ 2147483647 w 442"/>
                  <a:gd name="T1" fmla="*/ 2147483647 h 442"/>
                  <a:gd name="T2" fmla="*/ 2147483647 w 442"/>
                  <a:gd name="T3" fmla="*/ 2147483647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2147483647 w 442"/>
                  <a:gd name="T19" fmla="*/ 0 h 442"/>
                  <a:gd name="T20" fmla="*/ 0 w 442"/>
                  <a:gd name="T21" fmla="*/ 2147483647 h 442"/>
                  <a:gd name="T22" fmla="*/ 0 w 442"/>
                  <a:gd name="T23" fmla="*/ 2147483647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2147483647 w 442"/>
                  <a:gd name="T39" fmla="*/ 2147483647 h 442"/>
                  <a:gd name="T40" fmla="*/ 2147483647 w 442"/>
                  <a:gd name="T41" fmla="*/ 2147483647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442" y="332"/>
                    </a:moveTo>
                    <a:lnTo>
                      <a:pt x="442" y="332"/>
                    </a:lnTo>
                    <a:lnTo>
                      <a:pt x="412" y="282"/>
                    </a:lnTo>
                    <a:lnTo>
                      <a:pt x="376" y="232"/>
                    </a:lnTo>
                    <a:lnTo>
                      <a:pt x="338" y="186"/>
                    </a:lnTo>
                    <a:lnTo>
                      <a:pt x="298" y="144"/>
                    </a:lnTo>
                    <a:lnTo>
                      <a:pt x="254" y="104"/>
                    </a:lnTo>
                    <a:lnTo>
                      <a:pt x="208" y="66"/>
                    </a:lnTo>
                    <a:lnTo>
                      <a:pt x="160" y="30"/>
                    </a:lnTo>
                    <a:lnTo>
                      <a:pt x="110" y="0"/>
                    </a:lnTo>
                    <a:lnTo>
                      <a:pt x="0" y="188"/>
                    </a:lnTo>
                    <a:lnTo>
                      <a:pt x="40" y="212"/>
                    </a:lnTo>
                    <a:lnTo>
                      <a:pt x="76" y="238"/>
                    </a:lnTo>
                    <a:lnTo>
                      <a:pt x="110" y="268"/>
                    </a:lnTo>
                    <a:lnTo>
                      <a:pt x="144" y="298"/>
                    </a:lnTo>
                    <a:lnTo>
                      <a:pt x="174" y="330"/>
                    </a:lnTo>
                    <a:lnTo>
                      <a:pt x="204" y="366"/>
                    </a:lnTo>
                    <a:lnTo>
                      <a:pt x="230" y="402"/>
                    </a:lnTo>
                    <a:lnTo>
                      <a:pt x="254" y="442"/>
                    </a:lnTo>
                    <a:lnTo>
                      <a:pt x="442" y="332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923" dirty="0"/>
              </a:p>
            </p:txBody>
          </p:sp>
          <p:sp>
            <p:nvSpPr>
              <p:cNvPr id="62" name="Freeform 102"/>
              <p:cNvSpPr>
                <a:spLocks/>
              </p:cNvSpPr>
              <p:nvPr/>
            </p:nvSpPr>
            <p:spPr bwMode="auto">
              <a:xfrm>
                <a:off x="5604807" y="2665204"/>
                <a:ext cx="495588" cy="720741"/>
              </a:xfrm>
              <a:custGeom>
                <a:avLst/>
                <a:gdLst>
                  <a:gd name="T0" fmla="*/ 2147483647 w 312"/>
                  <a:gd name="T1" fmla="*/ 2147483647 h 454"/>
                  <a:gd name="T2" fmla="*/ 2147483647 w 312"/>
                  <a:gd name="T3" fmla="*/ 2147483647 h 454"/>
                  <a:gd name="T4" fmla="*/ 2147483647 w 312"/>
                  <a:gd name="T5" fmla="*/ 2147483647 h 454"/>
                  <a:gd name="T6" fmla="*/ 2147483647 w 312"/>
                  <a:gd name="T7" fmla="*/ 2147483647 h 454"/>
                  <a:gd name="T8" fmla="*/ 2147483647 w 312"/>
                  <a:gd name="T9" fmla="*/ 2147483647 h 454"/>
                  <a:gd name="T10" fmla="*/ 2147483647 w 312"/>
                  <a:gd name="T11" fmla="*/ 2147483647 h 454"/>
                  <a:gd name="T12" fmla="*/ 2147483647 w 312"/>
                  <a:gd name="T13" fmla="*/ 2147483647 h 454"/>
                  <a:gd name="T14" fmla="*/ 2147483647 w 312"/>
                  <a:gd name="T15" fmla="*/ 2147483647 h 454"/>
                  <a:gd name="T16" fmla="*/ 2147483647 w 312"/>
                  <a:gd name="T17" fmla="*/ 2147483647 h 454"/>
                  <a:gd name="T18" fmla="*/ 2147483647 w 312"/>
                  <a:gd name="T19" fmla="*/ 0 h 454"/>
                  <a:gd name="T20" fmla="*/ 0 w 312"/>
                  <a:gd name="T21" fmla="*/ 2147483647 h 454"/>
                  <a:gd name="T22" fmla="*/ 0 w 312"/>
                  <a:gd name="T23" fmla="*/ 2147483647 h 454"/>
                  <a:gd name="T24" fmla="*/ 2147483647 w 312"/>
                  <a:gd name="T25" fmla="*/ 2147483647 h 454"/>
                  <a:gd name="T26" fmla="*/ 2147483647 w 312"/>
                  <a:gd name="T27" fmla="*/ 2147483647 h 454"/>
                  <a:gd name="T28" fmla="*/ 2147483647 w 312"/>
                  <a:gd name="T29" fmla="*/ 2147483647 h 454"/>
                  <a:gd name="T30" fmla="*/ 2147483647 w 312"/>
                  <a:gd name="T31" fmla="*/ 2147483647 h 454"/>
                  <a:gd name="T32" fmla="*/ 2147483647 w 312"/>
                  <a:gd name="T33" fmla="*/ 2147483647 h 454"/>
                  <a:gd name="T34" fmla="*/ 2147483647 w 312"/>
                  <a:gd name="T35" fmla="*/ 2147483647 h 454"/>
                  <a:gd name="T36" fmla="*/ 2147483647 w 312"/>
                  <a:gd name="T37" fmla="*/ 2147483647 h 454"/>
                  <a:gd name="T38" fmla="*/ 2147483647 w 312"/>
                  <a:gd name="T39" fmla="*/ 2147483647 h 454"/>
                  <a:gd name="T40" fmla="*/ 2147483647 w 312"/>
                  <a:gd name="T41" fmla="*/ 2147483647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2"/>
                  <a:gd name="T64" fmla="*/ 0 h 454"/>
                  <a:gd name="T65" fmla="*/ 312 w 312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2" h="454">
                    <a:moveTo>
                      <a:pt x="312" y="454"/>
                    </a:moveTo>
                    <a:lnTo>
                      <a:pt x="312" y="454"/>
                    </a:lnTo>
                    <a:lnTo>
                      <a:pt x="310" y="394"/>
                    </a:lnTo>
                    <a:lnTo>
                      <a:pt x="304" y="334"/>
                    </a:lnTo>
                    <a:lnTo>
                      <a:pt x="294" y="276"/>
                    </a:lnTo>
                    <a:lnTo>
                      <a:pt x="280" y="218"/>
                    </a:lnTo>
                    <a:lnTo>
                      <a:pt x="262" y="162"/>
                    </a:lnTo>
                    <a:lnTo>
                      <a:pt x="242" y="106"/>
                    </a:lnTo>
                    <a:lnTo>
                      <a:pt x="218" y="52"/>
                    </a:lnTo>
                    <a:lnTo>
                      <a:pt x="190" y="0"/>
                    </a:lnTo>
                    <a:lnTo>
                      <a:pt x="0" y="108"/>
                    </a:lnTo>
                    <a:lnTo>
                      <a:pt x="22" y="148"/>
                    </a:lnTo>
                    <a:lnTo>
                      <a:pt x="40" y="190"/>
                    </a:lnTo>
                    <a:lnTo>
                      <a:pt x="56" y="232"/>
                    </a:lnTo>
                    <a:lnTo>
                      <a:pt x="70" y="276"/>
                    </a:lnTo>
                    <a:lnTo>
                      <a:pt x="80" y="318"/>
                    </a:lnTo>
                    <a:lnTo>
                      <a:pt x="86" y="364"/>
                    </a:lnTo>
                    <a:lnTo>
                      <a:pt x="92" y="408"/>
                    </a:lnTo>
                    <a:lnTo>
                      <a:pt x="92" y="454"/>
                    </a:lnTo>
                    <a:lnTo>
                      <a:pt x="312" y="454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923" dirty="0"/>
              </a:p>
            </p:txBody>
          </p:sp>
          <p:sp>
            <p:nvSpPr>
              <p:cNvPr id="63" name="Freeform 103"/>
              <p:cNvSpPr>
                <a:spLocks/>
              </p:cNvSpPr>
              <p:nvPr/>
            </p:nvSpPr>
            <p:spPr bwMode="auto">
              <a:xfrm>
                <a:off x="5606309" y="3414838"/>
                <a:ext cx="494086" cy="720740"/>
              </a:xfrm>
              <a:custGeom>
                <a:avLst/>
                <a:gdLst>
                  <a:gd name="T0" fmla="*/ 2147483647 w 312"/>
                  <a:gd name="T1" fmla="*/ 2147483647 h 454"/>
                  <a:gd name="T2" fmla="*/ 2147483647 w 312"/>
                  <a:gd name="T3" fmla="*/ 2147483647 h 454"/>
                  <a:gd name="T4" fmla="*/ 2147483647 w 312"/>
                  <a:gd name="T5" fmla="*/ 2147483647 h 454"/>
                  <a:gd name="T6" fmla="*/ 2147483647 w 312"/>
                  <a:gd name="T7" fmla="*/ 2147483647 h 454"/>
                  <a:gd name="T8" fmla="*/ 2147483647 w 312"/>
                  <a:gd name="T9" fmla="*/ 2147483647 h 454"/>
                  <a:gd name="T10" fmla="*/ 2147483647 w 312"/>
                  <a:gd name="T11" fmla="*/ 2147483647 h 454"/>
                  <a:gd name="T12" fmla="*/ 2147483647 w 312"/>
                  <a:gd name="T13" fmla="*/ 2147483647 h 454"/>
                  <a:gd name="T14" fmla="*/ 2147483647 w 312"/>
                  <a:gd name="T15" fmla="*/ 2147483647 h 454"/>
                  <a:gd name="T16" fmla="*/ 2147483647 w 312"/>
                  <a:gd name="T17" fmla="*/ 2147483647 h 454"/>
                  <a:gd name="T18" fmla="*/ 2147483647 w 312"/>
                  <a:gd name="T19" fmla="*/ 0 h 454"/>
                  <a:gd name="T20" fmla="*/ 2147483647 w 312"/>
                  <a:gd name="T21" fmla="*/ 0 h 454"/>
                  <a:gd name="T22" fmla="*/ 2147483647 w 312"/>
                  <a:gd name="T23" fmla="*/ 0 h 454"/>
                  <a:gd name="T24" fmla="*/ 2147483647 w 312"/>
                  <a:gd name="T25" fmla="*/ 2147483647 h 454"/>
                  <a:gd name="T26" fmla="*/ 2147483647 w 312"/>
                  <a:gd name="T27" fmla="*/ 2147483647 h 454"/>
                  <a:gd name="T28" fmla="*/ 2147483647 w 312"/>
                  <a:gd name="T29" fmla="*/ 2147483647 h 454"/>
                  <a:gd name="T30" fmla="*/ 2147483647 w 312"/>
                  <a:gd name="T31" fmla="*/ 2147483647 h 454"/>
                  <a:gd name="T32" fmla="*/ 2147483647 w 312"/>
                  <a:gd name="T33" fmla="*/ 2147483647 h 454"/>
                  <a:gd name="T34" fmla="*/ 2147483647 w 312"/>
                  <a:gd name="T35" fmla="*/ 2147483647 h 454"/>
                  <a:gd name="T36" fmla="*/ 2147483647 w 312"/>
                  <a:gd name="T37" fmla="*/ 2147483647 h 454"/>
                  <a:gd name="T38" fmla="*/ 0 w 312"/>
                  <a:gd name="T39" fmla="*/ 2147483647 h 454"/>
                  <a:gd name="T40" fmla="*/ 2147483647 w 312"/>
                  <a:gd name="T41" fmla="*/ 2147483647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2"/>
                  <a:gd name="T64" fmla="*/ 0 h 454"/>
                  <a:gd name="T65" fmla="*/ 312 w 312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2" h="454">
                    <a:moveTo>
                      <a:pt x="190" y="454"/>
                    </a:moveTo>
                    <a:lnTo>
                      <a:pt x="190" y="454"/>
                    </a:lnTo>
                    <a:lnTo>
                      <a:pt x="218" y="402"/>
                    </a:lnTo>
                    <a:lnTo>
                      <a:pt x="242" y="346"/>
                    </a:lnTo>
                    <a:lnTo>
                      <a:pt x="262" y="292"/>
                    </a:lnTo>
                    <a:lnTo>
                      <a:pt x="280" y="234"/>
                    </a:lnTo>
                    <a:lnTo>
                      <a:pt x="294" y="176"/>
                    </a:lnTo>
                    <a:lnTo>
                      <a:pt x="304" y="118"/>
                    </a:lnTo>
                    <a:lnTo>
                      <a:pt x="310" y="58"/>
                    </a:lnTo>
                    <a:lnTo>
                      <a:pt x="312" y="0"/>
                    </a:lnTo>
                    <a:lnTo>
                      <a:pt x="92" y="0"/>
                    </a:lnTo>
                    <a:lnTo>
                      <a:pt x="92" y="44"/>
                    </a:lnTo>
                    <a:lnTo>
                      <a:pt x="86" y="90"/>
                    </a:lnTo>
                    <a:lnTo>
                      <a:pt x="80" y="134"/>
                    </a:lnTo>
                    <a:lnTo>
                      <a:pt x="70" y="178"/>
                    </a:lnTo>
                    <a:lnTo>
                      <a:pt x="56" y="222"/>
                    </a:lnTo>
                    <a:lnTo>
                      <a:pt x="40" y="264"/>
                    </a:lnTo>
                    <a:lnTo>
                      <a:pt x="22" y="304"/>
                    </a:lnTo>
                    <a:lnTo>
                      <a:pt x="0" y="344"/>
                    </a:lnTo>
                    <a:lnTo>
                      <a:pt x="190" y="454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4" name="Freeform 104"/>
              <p:cNvSpPr>
                <a:spLocks/>
              </p:cNvSpPr>
              <p:nvPr/>
            </p:nvSpPr>
            <p:spPr bwMode="auto">
              <a:xfrm>
                <a:off x="5190315" y="3991109"/>
                <a:ext cx="699830" cy="699873"/>
              </a:xfrm>
              <a:custGeom>
                <a:avLst/>
                <a:gdLst>
                  <a:gd name="T0" fmla="*/ 2147483647 w 442"/>
                  <a:gd name="T1" fmla="*/ 2147483647 h 442"/>
                  <a:gd name="T2" fmla="*/ 2147483647 w 442"/>
                  <a:gd name="T3" fmla="*/ 2147483647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2147483647 w 442"/>
                  <a:gd name="T19" fmla="*/ 2147483647 h 442"/>
                  <a:gd name="T20" fmla="*/ 2147483647 w 442"/>
                  <a:gd name="T21" fmla="*/ 0 h 442"/>
                  <a:gd name="T22" fmla="*/ 2147483647 w 442"/>
                  <a:gd name="T23" fmla="*/ 0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0 w 442"/>
                  <a:gd name="T39" fmla="*/ 2147483647 h 442"/>
                  <a:gd name="T40" fmla="*/ 2147483647 w 442"/>
                  <a:gd name="T41" fmla="*/ 2147483647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110" y="442"/>
                    </a:moveTo>
                    <a:lnTo>
                      <a:pt x="110" y="442"/>
                    </a:lnTo>
                    <a:lnTo>
                      <a:pt x="160" y="410"/>
                    </a:lnTo>
                    <a:lnTo>
                      <a:pt x="208" y="376"/>
                    </a:lnTo>
                    <a:lnTo>
                      <a:pt x="254" y="338"/>
                    </a:lnTo>
                    <a:lnTo>
                      <a:pt x="298" y="298"/>
                    </a:lnTo>
                    <a:lnTo>
                      <a:pt x="338" y="254"/>
                    </a:lnTo>
                    <a:lnTo>
                      <a:pt x="376" y="208"/>
                    </a:lnTo>
                    <a:lnTo>
                      <a:pt x="412" y="160"/>
                    </a:lnTo>
                    <a:lnTo>
                      <a:pt x="442" y="108"/>
                    </a:lnTo>
                    <a:lnTo>
                      <a:pt x="254" y="0"/>
                    </a:lnTo>
                    <a:lnTo>
                      <a:pt x="230" y="38"/>
                    </a:lnTo>
                    <a:lnTo>
                      <a:pt x="204" y="76"/>
                    </a:lnTo>
                    <a:lnTo>
                      <a:pt x="174" y="110"/>
                    </a:lnTo>
                    <a:lnTo>
                      <a:pt x="144" y="144"/>
                    </a:lnTo>
                    <a:lnTo>
                      <a:pt x="110" y="174"/>
                    </a:lnTo>
                    <a:lnTo>
                      <a:pt x="76" y="202"/>
                    </a:lnTo>
                    <a:lnTo>
                      <a:pt x="40" y="228"/>
                    </a:lnTo>
                    <a:lnTo>
                      <a:pt x="0" y="252"/>
                    </a:lnTo>
                    <a:lnTo>
                      <a:pt x="110" y="442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5" name="Freeform 105"/>
              <p:cNvSpPr>
                <a:spLocks/>
              </p:cNvSpPr>
              <p:nvPr/>
            </p:nvSpPr>
            <p:spPr bwMode="auto">
              <a:xfrm>
                <a:off x="4615134" y="4403649"/>
                <a:ext cx="720855" cy="494405"/>
              </a:xfrm>
              <a:custGeom>
                <a:avLst/>
                <a:gdLst>
                  <a:gd name="T0" fmla="*/ 0 w 454"/>
                  <a:gd name="T1" fmla="*/ 2147483647 h 310"/>
                  <a:gd name="T2" fmla="*/ 0 w 454"/>
                  <a:gd name="T3" fmla="*/ 2147483647 h 310"/>
                  <a:gd name="T4" fmla="*/ 2147483647 w 454"/>
                  <a:gd name="T5" fmla="*/ 2147483647 h 310"/>
                  <a:gd name="T6" fmla="*/ 2147483647 w 454"/>
                  <a:gd name="T7" fmla="*/ 2147483647 h 310"/>
                  <a:gd name="T8" fmla="*/ 2147483647 w 454"/>
                  <a:gd name="T9" fmla="*/ 2147483647 h 310"/>
                  <a:gd name="T10" fmla="*/ 2147483647 w 454"/>
                  <a:gd name="T11" fmla="*/ 2147483647 h 310"/>
                  <a:gd name="T12" fmla="*/ 2147483647 w 454"/>
                  <a:gd name="T13" fmla="*/ 2147483647 h 310"/>
                  <a:gd name="T14" fmla="*/ 2147483647 w 454"/>
                  <a:gd name="T15" fmla="*/ 2147483647 h 310"/>
                  <a:gd name="T16" fmla="*/ 2147483647 w 454"/>
                  <a:gd name="T17" fmla="*/ 2147483647 h 310"/>
                  <a:gd name="T18" fmla="*/ 2147483647 w 454"/>
                  <a:gd name="T19" fmla="*/ 2147483647 h 310"/>
                  <a:gd name="T20" fmla="*/ 2147483647 w 454"/>
                  <a:gd name="T21" fmla="*/ 0 h 310"/>
                  <a:gd name="T22" fmla="*/ 2147483647 w 454"/>
                  <a:gd name="T23" fmla="*/ 0 h 310"/>
                  <a:gd name="T24" fmla="*/ 2147483647 w 454"/>
                  <a:gd name="T25" fmla="*/ 2147483647 h 310"/>
                  <a:gd name="T26" fmla="*/ 2147483647 w 454"/>
                  <a:gd name="T27" fmla="*/ 2147483647 h 310"/>
                  <a:gd name="T28" fmla="*/ 2147483647 w 454"/>
                  <a:gd name="T29" fmla="*/ 2147483647 h 310"/>
                  <a:gd name="T30" fmla="*/ 2147483647 w 454"/>
                  <a:gd name="T31" fmla="*/ 2147483647 h 310"/>
                  <a:gd name="T32" fmla="*/ 2147483647 w 454"/>
                  <a:gd name="T33" fmla="*/ 2147483647 h 310"/>
                  <a:gd name="T34" fmla="*/ 2147483647 w 454"/>
                  <a:gd name="T35" fmla="*/ 2147483647 h 310"/>
                  <a:gd name="T36" fmla="*/ 2147483647 w 454"/>
                  <a:gd name="T37" fmla="*/ 2147483647 h 310"/>
                  <a:gd name="T38" fmla="*/ 0 w 454"/>
                  <a:gd name="T39" fmla="*/ 2147483647 h 310"/>
                  <a:gd name="T40" fmla="*/ 0 w 454"/>
                  <a:gd name="T41" fmla="*/ 2147483647 h 31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0"/>
                  <a:gd name="T65" fmla="*/ 454 w 454"/>
                  <a:gd name="T66" fmla="*/ 310 h 31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0">
                    <a:moveTo>
                      <a:pt x="0" y="310"/>
                    </a:moveTo>
                    <a:lnTo>
                      <a:pt x="0" y="310"/>
                    </a:lnTo>
                    <a:lnTo>
                      <a:pt x="60" y="308"/>
                    </a:lnTo>
                    <a:lnTo>
                      <a:pt x="118" y="302"/>
                    </a:lnTo>
                    <a:lnTo>
                      <a:pt x="178" y="292"/>
                    </a:lnTo>
                    <a:lnTo>
                      <a:pt x="236" y="280"/>
                    </a:lnTo>
                    <a:lnTo>
                      <a:pt x="292" y="262"/>
                    </a:lnTo>
                    <a:lnTo>
                      <a:pt x="348" y="242"/>
                    </a:lnTo>
                    <a:lnTo>
                      <a:pt x="402" y="216"/>
                    </a:lnTo>
                    <a:lnTo>
                      <a:pt x="454" y="188"/>
                    </a:lnTo>
                    <a:lnTo>
                      <a:pt x="346" y="0"/>
                    </a:lnTo>
                    <a:lnTo>
                      <a:pt x="306" y="20"/>
                    </a:lnTo>
                    <a:lnTo>
                      <a:pt x="264" y="40"/>
                    </a:lnTo>
                    <a:lnTo>
                      <a:pt x="222" y="56"/>
                    </a:lnTo>
                    <a:lnTo>
                      <a:pt x="178" y="68"/>
                    </a:lnTo>
                    <a:lnTo>
                      <a:pt x="134" y="78"/>
                    </a:lnTo>
                    <a:lnTo>
                      <a:pt x="90" y="86"/>
                    </a:lnTo>
                    <a:lnTo>
                      <a:pt x="46" y="90"/>
                    </a:lnTo>
                    <a:lnTo>
                      <a:pt x="0" y="92"/>
                    </a:lnTo>
                    <a:lnTo>
                      <a:pt x="0" y="31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6" name="Freeform 106"/>
              <p:cNvSpPr>
                <a:spLocks/>
              </p:cNvSpPr>
              <p:nvPr/>
            </p:nvSpPr>
            <p:spPr bwMode="auto">
              <a:xfrm>
                <a:off x="3865744" y="4403649"/>
                <a:ext cx="720855" cy="494405"/>
              </a:xfrm>
              <a:custGeom>
                <a:avLst/>
                <a:gdLst>
                  <a:gd name="T0" fmla="*/ 0 w 454"/>
                  <a:gd name="T1" fmla="*/ 2147483647 h 310"/>
                  <a:gd name="T2" fmla="*/ 0 w 454"/>
                  <a:gd name="T3" fmla="*/ 2147483647 h 310"/>
                  <a:gd name="T4" fmla="*/ 2147483647 w 454"/>
                  <a:gd name="T5" fmla="*/ 2147483647 h 310"/>
                  <a:gd name="T6" fmla="*/ 2147483647 w 454"/>
                  <a:gd name="T7" fmla="*/ 2147483647 h 310"/>
                  <a:gd name="T8" fmla="*/ 2147483647 w 454"/>
                  <a:gd name="T9" fmla="*/ 2147483647 h 310"/>
                  <a:gd name="T10" fmla="*/ 2147483647 w 454"/>
                  <a:gd name="T11" fmla="*/ 2147483647 h 310"/>
                  <a:gd name="T12" fmla="*/ 2147483647 w 454"/>
                  <a:gd name="T13" fmla="*/ 2147483647 h 310"/>
                  <a:gd name="T14" fmla="*/ 2147483647 w 454"/>
                  <a:gd name="T15" fmla="*/ 2147483647 h 310"/>
                  <a:gd name="T16" fmla="*/ 2147483647 w 454"/>
                  <a:gd name="T17" fmla="*/ 2147483647 h 310"/>
                  <a:gd name="T18" fmla="*/ 2147483647 w 454"/>
                  <a:gd name="T19" fmla="*/ 2147483647 h 310"/>
                  <a:gd name="T20" fmla="*/ 2147483647 w 454"/>
                  <a:gd name="T21" fmla="*/ 2147483647 h 310"/>
                  <a:gd name="T22" fmla="*/ 2147483647 w 454"/>
                  <a:gd name="T23" fmla="*/ 2147483647 h 310"/>
                  <a:gd name="T24" fmla="*/ 2147483647 w 454"/>
                  <a:gd name="T25" fmla="*/ 2147483647 h 310"/>
                  <a:gd name="T26" fmla="*/ 2147483647 w 454"/>
                  <a:gd name="T27" fmla="*/ 2147483647 h 310"/>
                  <a:gd name="T28" fmla="*/ 2147483647 w 454"/>
                  <a:gd name="T29" fmla="*/ 2147483647 h 310"/>
                  <a:gd name="T30" fmla="*/ 2147483647 w 454"/>
                  <a:gd name="T31" fmla="*/ 2147483647 h 310"/>
                  <a:gd name="T32" fmla="*/ 2147483647 w 454"/>
                  <a:gd name="T33" fmla="*/ 2147483647 h 310"/>
                  <a:gd name="T34" fmla="*/ 2147483647 w 454"/>
                  <a:gd name="T35" fmla="*/ 2147483647 h 310"/>
                  <a:gd name="T36" fmla="*/ 2147483647 w 454"/>
                  <a:gd name="T37" fmla="*/ 2147483647 h 310"/>
                  <a:gd name="T38" fmla="*/ 2147483647 w 454"/>
                  <a:gd name="T39" fmla="*/ 0 h 310"/>
                  <a:gd name="T40" fmla="*/ 0 w 454"/>
                  <a:gd name="T41" fmla="*/ 2147483647 h 31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0"/>
                  <a:gd name="T65" fmla="*/ 454 w 454"/>
                  <a:gd name="T66" fmla="*/ 310 h 31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0">
                    <a:moveTo>
                      <a:pt x="0" y="188"/>
                    </a:moveTo>
                    <a:lnTo>
                      <a:pt x="0" y="188"/>
                    </a:lnTo>
                    <a:lnTo>
                      <a:pt x="52" y="216"/>
                    </a:lnTo>
                    <a:lnTo>
                      <a:pt x="106" y="242"/>
                    </a:lnTo>
                    <a:lnTo>
                      <a:pt x="162" y="262"/>
                    </a:lnTo>
                    <a:lnTo>
                      <a:pt x="220" y="280"/>
                    </a:lnTo>
                    <a:lnTo>
                      <a:pt x="278" y="292"/>
                    </a:lnTo>
                    <a:lnTo>
                      <a:pt x="336" y="302"/>
                    </a:lnTo>
                    <a:lnTo>
                      <a:pt x="394" y="308"/>
                    </a:lnTo>
                    <a:lnTo>
                      <a:pt x="454" y="310"/>
                    </a:lnTo>
                    <a:lnTo>
                      <a:pt x="454" y="92"/>
                    </a:lnTo>
                    <a:lnTo>
                      <a:pt x="410" y="90"/>
                    </a:lnTo>
                    <a:lnTo>
                      <a:pt x="364" y="86"/>
                    </a:lnTo>
                    <a:lnTo>
                      <a:pt x="320" y="78"/>
                    </a:lnTo>
                    <a:lnTo>
                      <a:pt x="276" y="68"/>
                    </a:lnTo>
                    <a:lnTo>
                      <a:pt x="232" y="56"/>
                    </a:lnTo>
                    <a:lnTo>
                      <a:pt x="190" y="40"/>
                    </a:lnTo>
                    <a:lnTo>
                      <a:pt x="150" y="20"/>
                    </a:lnTo>
                    <a:lnTo>
                      <a:pt x="110" y="0"/>
                    </a:lnTo>
                    <a:lnTo>
                      <a:pt x="0" y="188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7" name="Freeform 107"/>
              <p:cNvSpPr>
                <a:spLocks/>
              </p:cNvSpPr>
              <p:nvPr/>
            </p:nvSpPr>
            <p:spPr bwMode="auto">
              <a:xfrm>
                <a:off x="3310085" y="3991109"/>
                <a:ext cx="701333" cy="699873"/>
              </a:xfrm>
              <a:custGeom>
                <a:avLst/>
                <a:gdLst>
                  <a:gd name="T0" fmla="*/ 0 w 442"/>
                  <a:gd name="T1" fmla="*/ 2147483647 h 442"/>
                  <a:gd name="T2" fmla="*/ 0 w 442"/>
                  <a:gd name="T3" fmla="*/ 2147483647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2147483647 w 442"/>
                  <a:gd name="T19" fmla="*/ 2147483647 h 442"/>
                  <a:gd name="T20" fmla="*/ 2147483647 w 442"/>
                  <a:gd name="T21" fmla="*/ 2147483647 h 442"/>
                  <a:gd name="T22" fmla="*/ 2147483647 w 442"/>
                  <a:gd name="T23" fmla="*/ 2147483647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2147483647 w 442"/>
                  <a:gd name="T39" fmla="*/ 0 h 442"/>
                  <a:gd name="T40" fmla="*/ 0 w 442"/>
                  <a:gd name="T41" fmla="*/ 2147483647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0" y="108"/>
                    </a:moveTo>
                    <a:lnTo>
                      <a:pt x="0" y="108"/>
                    </a:lnTo>
                    <a:lnTo>
                      <a:pt x="32" y="160"/>
                    </a:lnTo>
                    <a:lnTo>
                      <a:pt x="66" y="208"/>
                    </a:lnTo>
                    <a:lnTo>
                      <a:pt x="104" y="254"/>
                    </a:lnTo>
                    <a:lnTo>
                      <a:pt x="144" y="298"/>
                    </a:lnTo>
                    <a:lnTo>
                      <a:pt x="188" y="338"/>
                    </a:lnTo>
                    <a:lnTo>
                      <a:pt x="234" y="376"/>
                    </a:lnTo>
                    <a:lnTo>
                      <a:pt x="282" y="410"/>
                    </a:lnTo>
                    <a:lnTo>
                      <a:pt x="332" y="442"/>
                    </a:lnTo>
                    <a:lnTo>
                      <a:pt x="442" y="252"/>
                    </a:lnTo>
                    <a:lnTo>
                      <a:pt x="404" y="228"/>
                    </a:lnTo>
                    <a:lnTo>
                      <a:pt x="366" y="202"/>
                    </a:lnTo>
                    <a:lnTo>
                      <a:pt x="332" y="174"/>
                    </a:lnTo>
                    <a:lnTo>
                      <a:pt x="298" y="144"/>
                    </a:lnTo>
                    <a:lnTo>
                      <a:pt x="268" y="110"/>
                    </a:lnTo>
                    <a:lnTo>
                      <a:pt x="240" y="76"/>
                    </a:lnTo>
                    <a:lnTo>
                      <a:pt x="212" y="38"/>
                    </a:lnTo>
                    <a:lnTo>
                      <a:pt x="190" y="0"/>
                    </a:lnTo>
                    <a:lnTo>
                      <a:pt x="0" y="108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8" name="Freeform 108"/>
              <p:cNvSpPr>
                <a:spLocks/>
              </p:cNvSpPr>
              <p:nvPr/>
            </p:nvSpPr>
            <p:spPr bwMode="auto">
              <a:xfrm>
                <a:off x="3104341" y="3414838"/>
                <a:ext cx="491082" cy="720740"/>
              </a:xfrm>
              <a:custGeom>
                <a:avLst/>
                <a:gdLst>
                  <a:gd name="T0" fmla="*/ 0 w 310"/>
                  <a:gd name="T1" fmla="*/ 0 h 454"/>
                  <a:gd name="T2" fmla="*/ 0 w 310"/>
                  <a:gd name="T3" fmla="*/ 0 h 454"/>
                  <a:gd name="T4" fmla="*/ 2147483647 w 310"/>
                  <a:gd name="T5" fmla="*/ 2147483647 h 454"/>
                  <a:gd name="T6" fmla="*/ 2147483647 w 310"/>
                  <a:gd name="T7" fmla="*/ 2147483647 h 454"/>
                  <a:gd name="T8" fmla="*/ 2147483647 w 310"/>
                  <a:gd name="T9" fmla="*/ 2147483647 h 454"/>
                  <a:gd name="T10" fmla="*/ 2147483647 w 310"/>
                  <a:gd name="T11" fmla="*/ 2147483647 h 454"/>
                  <a:gd name="T12" fmla="*/ 2147483647 w 310"/>
                  <a:gd name="T13" fmla="*/ 2147483647 h 454"/>
                  <a:gd name="T14" fmla="*/ 2147483647 w 310"/>
                  <a:gd name="T15" fmla="*/ 2147483647 h 454"/>
                  <a:gd name="T16" fmla="*/ 2147483647 w 310"/>
                  <a:gd name="T17" fmla="*/ 2147483647 h 454"/>
                  <a:gd name="T18" fmla="*/ 2147483647 w 310"/>
                  <a:gd name="T19" fmla="*/ 2147483647 h 454"/>
                  <a:gd name="T20" fmla="*/ 2147483647 w 310"/>
                  <a:gd name="T21" fmla="*/ 2147483647 h 454"/>
                  <a:gd name="T22" fmla="*/ 2147483647 w 310"/>
                  <a:gd name="T23" fmla="*/ 2147483647 h 454"/>
                  <a:gd name="T24" fmla="*/ 2147483647 w 310"/>
                  <a:gd name="T25" fmla="*/ 2147483647 h 454"/>
                  <a:gd name="T26" fmla="*/ 2147483647 w 310"/>
                  <a:gd name="T27" fmla="*/ 2147483647 h 454"/>
                  <a:gd name="T28" fmla="*/ 2147483647 w 310"/>
                  <a:gd name="T29" fmla="*/ 2147483647 h 454"/>
                  <a:gd name="T30" fmla="*/ 2147483647 w 310"/>
                  <a:gd name="T31" fmla="*/ 2147483647 h 454"/>
                  <a:gd name="T32" fmla="*/ 2147483647 w 310"/>
                  <a:gd name="T33" fmla="*/ 2147483647 h 454"/>
                  <a:gd name="T34" fmla="*/ 2147483647 w 310"/>
                  <a:gd name="T35" fmla="*/ 2147483647 h 454"/>
                  <a:gd name="T36" fmla="*/ 2147483647 w 310"/>
                  <a:gd name="T37" fmla="*/ 2147483647 h 454"/>
                  <a:gd name="T38" fmla="*/ 2147483647 w 310"/>
                  <a:gd name="T39" fmla="*/ 0 h 454"/>
                  <a:gd name="T40" fmla="*/ 0 w 310"/>
                  <a:gd name="T41" fmla="*/ 0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0"/>
                  <a:gd name="T64" fmla="*/ 0 h 454"/>
                  <a:gd name="T65" fmla="*/ 310 w 310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0" h="454">
                    <a:moveTo>
                      <a:pt x="0" y="0"/>
                    </a:moveTo>
                    <a:lnTo>
                      <a:pt x="0" y="0"/>
                    </a:lnTo>
                    <a:lnTo>
                      <a:pt x="2" y="58"/>
                    </a:lnTo>
                    <a:lnTo>
                      <a:pt x="8" y="118"/>
                    </a:lnTo>
                    <a:lnTo>
                      <a:pt x="16" y="176"/>
                    </a:lnTo>
                    <a:lnTo>
                      <a:pt x="30" y="234"/>
                    </a:lnTo>
                    <a:lnTo>
                      <a:pt x="48" y="292"/>
                    </a:lnTo>
                    <a:lnTo>
                      <a:pt x="68" y="346"/>
                    </a:lnTo>
                    <a:lnTo>
                      <a:pt x="94" y="402"/>
                    </a:lnTo>
                    <a:lnTo>
                      <a:pt x="122" y="454"/>
                    </a:lnTo>
                    <a:lnTo>
                      <a:pt x="310" y="344"/>
                    </a:lnTo>
                    <a:lnTo>
                      <a:pt x="290" y="304"/>
                    </a:lnTo>
                    <a:lnTo>
                      <a:pt x="270" y="264"/>
                    </a:lnTo>
                    <a:lnTo>
                      <a:pt x="254" y="222"/>
                    </a:lnTo>
                    <a:lnTo>
                      <a:pt x="242" y="178"/>
                    </a:lnTo>
                    <a:lnTo>
                      <a:pt x="232" y="134"/>
                    </a:lnTo>
                    <a:lnTo>
                      <a:pt x="224" y="90"/>
                    </a:lnTo>
                    <a:lnTo>
                      <a:pt x="220" y="44"/>
                    </a:lnTo>
                    <a:lnTo>
                      <a:pt x="218" y="0"/>
                    </a:lnTo>
                    <a:lnTo>
                      <a:pt x="0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9" name="Freeform 109"/>
              <p:cNvSpPr>
                <a:spLocks/>
              </p:cNvSpPr>
              <p:nvPr/>
            </p:nvSpPr>
            <p:spPr bwMode="auto">
              <a:xfrm>
                <a:off x="3104341" y="2665204"/>
                <a:ext cx="491082" cy="720741"/>
              </a:xfrm>
              <a:custGeom>
                <a:avLst/>
                <a:gdLst>
                  <a:gd name="T0" fmla="*/ 2147483647 w 310"/>
                  <a:gd name="T1" fmla="*/ 0 h 454"/>
                  <a:gd name="T2" fmla="*/ 2147483647 w 310"/>
                  <a:gd name="T3" fmla="*/ 0 h 454"/>
                  <a:gd name="T4" fmla="*/ 2147483647 w 310"/>
                  <a:gd name="T5" fmla="*/ 2147483647 h 454"/>
                  <a:gd name="T6" fmla="*/ 2147483647 w 310"/>
                  <a:gd name="T7" fmla="*/ 2147483647 h 454"/>
                  <a:gd name="T8" fmla="*/ 2147483647 w 310"/>
                  <a:gd name="T9" fmla="*/ 2147483647 h 454"/>
                  <a:gd name="T10" fmla="*/ 2147483647 w 310"/>
                  <a:gd name="T11" fmla="*/ 2147483647 h 454"/>
                  <a:gd name="T12" fmla="*/ 2147483647 w 310"/>
                  <a:gd name="T13" fmla="*/ 2147483647 h 454"/>
                  <a:gd name="T14" fmla="*/ 2147483647 w 310"/>
                  <a:gd name="T15" fmla="*/ 2147483647 h 454"/>
                  <a:gd name="T16" fmla="*/ 2147483647 w 310"/>
                  <a:gd name="T17" fmla="*/ 2147483647 h 454"/>
                  <a:gd name="T18" fmla="*/ 0 w 310"/>
                  <a:gd name="T19" fmla="*/ 2147483647 h 454"/>
                  <a:gd name="T20" fmla="*/ 2147483647 w 310"/>
                  <a:gd name="T21" fmla="*/ 2147483647 h 454"/>
                  <a:gd name="T22" fmla="*/ 2147483647 w 310"/>
                  <a:gd name="T23" fmla="*/ 2147483647 h 454"/>
                  <a:gd name="T24" fmla="*/ 2147483647 w 310"/>
                  <a:gd name="T25" fmla="*/ 2147483647 h 454"/>
                  <a:gd name="T26" fmla="*/ 2147483647 w 310"/>
                  <a:gd name="T27" fmla="*/ 2147483647 h 454"/>
                  <a:gd name="T28" fmla="*/ 2147483647 w 310"/>
                  <a:gd name="T29" fmla="*/ 2147483647 h 454"/>
                  <a:gd name="T30" fmla="*/ 2147483647 w 310"/>
                  <a:gd name="T31" fmla="*/ 2147483647 h 454"/>
                  <a:gd name="T32" fmla="*/ 2147483647 w 310"/>
                  <a:gd name="T33" fmla="*/ 2147483647 h 454"/>
                  <a:gd name="T34" fmla="*/ 2147483647 w 310"/>
                  <a:gd name="T35" fmla="*/ 2147483647 h 454"/>
                  <a:gd name="T36" fmla="*/ 2147483647 w 310"/>
                  <a:gd name="T37" fmla="*/ 2147483647 h 454"/>
                  <a:gd name="T38" fmla="*/ 2147483647 w 310"/>
                  <a:gd name="T39" fmla="*/ 2147483647 h 454"/>
                  <a:gd name="T40" fmla="*/ 2147483647 w 310"/>
                  <a:gd name="T41" fmla="*/ 0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0"/>
                  <a:gd name="T64" fmla="*/ 0 h 454"/>
                  <a:gd name="T65" fmla="*/ 310 w 310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0" h="454">
                    <a:moveTo>
                      <a:pt x="122" y="0"/>
                    </a:moveTo>
                    <a:lnTo>
                      <a:pt x="122" y="0"/>
                    </a:lnTo>
                    <a:lnTo>
                      <a:pt x="94" y="52"/>
                    </a:lnTo>
                    <a:lnTo>
                      <a:pt x="68" y="106"/>
                    </a:lnTo>
                    <a:lnTo>
                      <a:pt x="48" y="162"/>
                    </a:lnTo>
                    <a:lnTo>
                      <a:pt x="30" y="218"/>
                    </a:lnTo>
                    <a:lnTo>
                      <a:pt x="16" y="276"/>
                    </a:lnTo>
                    <a:lnTo>
                      <a:pt x="8" y="334"/>
                    </a:lnTo>
                    <a:lnTo>
                      <a:pt x="2" y="394"/>
                    </a:lnTo>
                    <a:lnTo>
                      <a:pt x="0" y="454"/>
                    </a:lnTo>
                    <a:lnTo>
                      <a:pt x="218" y="454"/>
                    </a:lnTo>
                    <a:lnTo>
                      <a:pt x="220" y="408"/>
                    </a:lnTo>
                    <a:lnTo>
                      <a:pt x="224" y="364"/>
                    </a:lnTo>
                    <a:lnTo>
                      <a:pt x="232" y="318"/>
                    </a:lnTo>
                    <a:lnTo>
                      <a:pt x="242" y="276"/>
                    </a:lnTo>
                    <a:lnTo>
                      <a:pt x="254" y="232"/>
                    </a:lnTo>
                    <a:lnTo>
                      <a:pt x="270" y="190"/>
                    </a:lnTo>
                    <a:lnTo>
                      <a:pt x="290" y="148"/>
                    </a:lnTo>
                    <a:lnTo>
                      <a:pt x="310" y="108"/>
                    </a:lnTo>
                    <a:lnTo>
                      <a:pt x="122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70" name="Freeform 110"/>
              <p:cNvSpPr>
                <a:spLocks/>
              </p:cNvSpPr>
              <p:nvPr/>
            </p:nvSpPr>
            <p:spPr bwMode="auto">
              <a:xfrm>
                <a:off x="3310085" y="2109800"/>
                <a:ext cx="701333" cy="701478"/>
              </a:xfrm>
              <a:custGeom>
                <a:avLst/>
                <a:gdLst>
                  <a:gd name="T0" fmla="*/ 2147483647 w 442"/>
                  <a:gd name="T1" fmla="*/ 0 h 442"/>
                  <a:gd name="T2" fmla="*/ 2147483647 w 442"/>
                  <a:gd name="T3" fmla="*/ 0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0 w 442"/>
                  <a:gd name="T19" fmla="*/ 2147483647 h 442"/>
                  <a:gd name="T20" fmla="*/ 2147483647 w 442"/>
                  <a:gd name="T21" fmla="*/ 2147483647 h 442"/>
                  <a:gd name="T22" fmla="*/ 2147483647 w 442"/>
                  <a:gd name="T23" fmla="*/ 2147483647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2147483647 w 442"/>
                  <a:gd name="T39" fmla="*/ 2147483647 h 442"/>
                  <a:gd name="T40" fmla="*/ 2147483647 w 442"/>
                  <a:gd name="T41" fmla="*/ 0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332" y="0"/>
                    </a:moveTo>
                    <a:lnTo>
                      <a:pt x="332" y="0"/>
                    </a:lnTo>
                    <a:lnTo>
                      <a:pt x="282" y="30"/>
                    </a:lnTo>
                    <a:lnTo>
                      <a:pt x="234" y="66"/>
                    </a:lnTo>
                    <a:lnTo>
                      <a:pt x="188" y="104"/>
                    </a:lnTo>
                    <a:lnTo>
                      <a:pt x="144" y="144"/>
                    </a:lnTo>
                    <a:lnTo>
                      <a:pt x="104" y="186"/>
                    </a:lnTo>
                    <a:lnTo>
                      <a:pt x="66" y="232"/>
                    </a:lnTo>
                    <a:lnTo>
                      <a:pt x="32" y="282"/>
                    </a:lnTo>
                    <a:lnTo>
                      <a:pt x="0" y="332"/>
                    </a:lnTo>
                    <a:lnTo>
                      <a:pt x="190" y="442"/>
                    </a:lnTo>
                    <a:lnTo>
                      <a:pt x="212" y="402"/>
                    </a:lnTo>
                    <a:lnTo>
                      <a:pt x="240" y="366"/>
                    </a:lnTo>
                    <a:lnTo>
                      <a:pt x="268" y="330"/>
                    </a:lnTo>
                    <a:lnTo>
                      <a:pt x="298" y="298"/>
                    </a:lnTo>
                    <a:lnTo>
                      <a:pt x="332" y="268"/>
                    </a:lnTo>
                    <a:lnTo>
                      <a:pt x="366" y="238"/>
                    </a:lnTo>
                    <a:lnTo>
                      <a:pt x="404" y="212"/>
                    </a:lnTo>
                    <a:lnTo>
                      <a:pt x="442" y="188"/>
                    </a:lnTo>
                    <a:lnTo>
                      <a:pt x="332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72" name="Freeform 111"/>
              <p:cNvSpPr>
                <a:spLocks/>
              </p:cNvSpPr>
              <p:nvPr/>
            </p:nvSpPr>
            <p:spPr bwMode="auto">
              <a:xfrm>
                <a:off x="3865744" y="1899518"/>
                <a:ext cx="720855" cy="496010"/>
              </a:xfrm>
              <a:custGeom>
                <a:avLst/>
                <a:gdLst>
                  <a:gd name="T0" fmla="*/ 2147483647 w 454"/>
                  <a:gd name="T1" fmla="*/ 0 h 312"/>
                  <a:gd name="T2" fmla="*/ 2147483647 w 454"/>
                  <a:gd name="T3" fmla="*/ 0 h 312"/>
                  <a:gd name="T4" fmla="*/ 2147483647 w 454"/>
                  <a:gd name="T5" fmla="*/ 2147483647 h 312"/>
                  <a:gd name="T6" fmla="*/ 2147483647 w 454"/>
                  <a:gd name="T7" fmla="*/ 2147483647 h 312"/>
                  <a:gd name="T8" fmla="*/ 2147483647 w 454"/>
                  <a:gd name="T9" fmla="*/ 2147483647 h 312"/>
                  <a:gd name="T10" fmla="*/ 2147483647 w 454"/>
                  <a:gd name="T11" fmla="*/ 2147483647 h 312"/>
                  <a:gd name="T12" fmla="*/ 2147483647 w 454"/>
                  <a:gd name="T13" fmla="*/ 2147483647 h 312"/>
                  <a:gd name="T14" fmla="*/ 2147483647 w 454"/>
                  <a:gd name="T15" fmla="*/ 2147483647 h 312"/>
                  <a:gd name="T16" fmla="*/ 2147483647 w 454"/>
                  <a:gd name="T17" fmla="*/ 2147483647 h 312"/>
                  <a:gd name="T18" fmla="*/ 0 w 454"/>
                  <a:gd name="T19" fmla="*/ 2147483647 h 312"/>
                  <a:gd name="T20" fmla="*/ 2147483647 w 454"/>
                  <a:gd name="T21" fmla="*/ 2147483647 h 312"/>
                  <a:gd name="T22" fmla="*/ 2147483647 w 454"/>
                  <a:gd name="T23" fmla="*/ 2147483647 h 312"/>
                  <a:gd name="T24" fmla="*/ 2147483647 w 454"/>
                  <a:gd name="T25" fmla="*/ 2147483647 h 312"/>
                  <a:gd name="T26" fmla="*/ 2147483647 w 454"/>
                  <a:gd name="T27" fmla="*/ 2147483647 h 312"/>
                  <a:gd name="T28" fmla="*/ 2147483647 w 454"/>
                  <a:gd name="T29" fmla="*/ 2147483647 h 312"/>
                  <a:gd name="T30" fmla="*/ 2147483647 w 454"/>
                  <a:gd name="T31" fmla="*/ 2147483647 h 312"/>
                  <a:gd name="T32" fmla="*/ 2147483647 w 454"/>
                  <a:gd name="T33" fmla="*/ 2147483647 h 312"/>
                  <a:gd name="T34" fmla="*/ 2147483647 w 454"/>
                  <a:gd name="T35" fmla="*/ 2147483647 h 312"/>
                  <a:gd name="T36" fmla="*/ 2147483647 w 454"/>
                  <a:gd name="T37" fmla="*/ 2147483647 h 312"/>
                  <a:gd name="T38" fmla="*/ 2147483647 w 454"/>
                  <a:gd name="T39" fmla="*/ 2147483647 h 312"/>
                  <a:gd name="T40" fmla="*/ 2147483647 w 454"/>
                  <a:gd name="T41" fmla="*/ 0 h 3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2"/>
                  <a:gd name="T65" fmla="*/ 454 w 454"/>
                  <a:gd name="T66" fmla="*/ 312 h 3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2">
                    <a:moveTo>
                      <a:pt x="454" y="0"/>
                    </a:moveTo>
                    <a:lnTo>
                      <a:pt x="454" y="0"/>
                    </a:lnTo>
                    <a:lnTo>
                      <a:pt x="394" y="2"/>
                    </a:lnTo>
                    <a:lnTo>
                      <a:pt x="336" y="8"/>
                    </a:lnTo>
                    <a:lnTo>
                      <a:pt x="278" y="18"/>
                    </a:lnTo>
                    <a:lnTo>
                      <a:pt x="220" y="32"/>
                    </a:lnTo>
                    <a:lnTo>
                      <a:pt x="162" y="48"/>
                    </a:lnTo>
                    <a:lnTo>
                      <a:pt x="106" y="70"/>
                    </a:lnTo>
                    <a:lnTo>
                      <a:pt x="52" y="94"/>
                    </a:lnTo>
                    <a:lnTo>
                      <a:pt x="0" y="122"/>
                    </a:lnTo>
                    <a:lnTo>
                      <a:pt x="110" y="312"/>
                    </a:lnTo>
                    <a:lnTo>
                      <a:pt x="150" y="290"/>
                    </a:lnTo>
                    <a:lnTo>
                      <a:pt x="190" y="272"/>
                    </a:lnTo>
                    <a:lnTo>
                      <a:pt x="232" y="256"/>
                    </a:lnTo>
                    <a:lnTo>
                      <a:pt x="276" y="242"/>
                    </a:lnTo>
                    <a:lnTo>
                      <a:pt x="320" y="232"/>
                    </a:lnTo>
                    <a:lnTo>
                      <a:pt x="364" y="224"/>
                    </a:lnTo>
                    <a:lnTo>
                      <a:pt x="410" y="220"/>
                    </a:lnTo>
                    <a:lnTo>
                      <a:pt x="454" y="220"/>
                    </a:lnTo>
                    <a:lnTo>
                      <a:pt x="454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74" name="Rektangulær billedforklaring 70"/>
              <p:cNvSpPr>
                <a:spLocks noChangeArrowheads="1"/>
              </p:cNvSpPr>
              <p:nvPr/>
            </p:nvSpPr>
            <p:spPr bwMode="auto">
              <a:xfrm>
                <a:off x="6280609" y="3413233"/>
                <a:ext cx="1413177" cy="956707"/>
              </a:xfrm>
              <a:prstGeom prst="wedgeRectCallout">
                <a:avLst>
                  <a:gd name="adj1" fmla="val -72403"/>
                  <a:gd name="adj2" fmla="val -29648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805" name="Rektangel 71"/>
              <p:cNvSpPr>
                <a:spLocks noChangeArrowheads="1"/>
              </p:cNvSpPr>
              <p:nvPr/>
            </p:nvSpPr>
            <p:spPr bwMode="auto">
              <a:xfrm>
                <a:off x="6253557" y="3404959"/>
                <a:ext cx="1440229" cy="8416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Luglio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FF0000"/>
                    </a:solidFill>
                    <a:latin typeface="Calibri" pitchFamily="34" charset="0"/>
                    <a:cs typeface="Arial" charset="0"/>
                  </a:rPr>
                  <a:t>Invio Progres n. 1.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Tavolo </a:t>
                </a:r>
                <a:r>
                  <a:rPr lang="it-IT" sz="1108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MISE-MIUR</a:t>
                </a:r>
              </a:p>
            </p:txBody>
          </p:sp>
          <p:sp>
            <p:nvSpPr>
              <p:cNvPr id="78" name="Rektangulær billedforklaring 72"/>
              <p:cNvSpPr>
                <a:spLocks noChangeArrowheads="1"/>
              </p:cNvSpPr>
              <p:nvPr/>
            </p:nvSpPr>
            <p:spPr bwMode="auto">
              <a:xfrm>
                <a:off x="5807548" y="4434148"/>
                <a:ext cx="1688003" cy="942260"/>
              </a:xfrm>
              <a:prstGeom prst="wedgeRectCallout">
                <a:avLst>
                  <a:gd name="adj1" fmla="val -66037"/>
                  <a:gd name="adj2" fmla="val -55139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0" name="Rektangulær billedforklaring 74"/>
              <p:cNvSpPr>
                <a:spLocks noChangeArrowheads="1"/>
              </p:cNvSpPr>
              <p:nvPr/>
            </p:nvSpPr>
            <p:spPr bwMode="auto">
              <a:xfrm>
                <a:off x="4511510" y="5105127"/>
                <a:ext cx="1305049" cy="1080308"/>
              </a:xfrm>
              <a:prstGeom prst="wedgeRectCallout">
                <a:avLst>
                  <a:gd name="adj1" fmla="val 2745"/>
                  <a:gd name="adj2" fmla="val -82227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2" name="Rektangulær billedforklaring 76"/>
              <p:cNvSpPr>
                <a:spLocks noChangeArrowheads="1"/>
              </p:cNvSpPr>
              <p:nvPr/>
            </p:nvSpPr>
            <p:spPr bwMode="auto">
              <a:xfrm>
                <a:off x="3245509" y="5105127"/>
                <a:ext cx="1196920" cy="1080308"/>
              </a:xfrm>
              <a:prstGeom prst="wedgeRectCallout">
                <a:avLst>
                  <a:gd name="adj1" fmla="val 32042"/>
                  <a:gd name="adj2" fmla="val -85412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4" name="Rektangulær billedforklaring 78"/>
              <p:cNvSpPr>
                <a:spLocks noChangeArrowheads="1"/>
              </p:cNvSpPr>
              <p:nvPr/>
            </p:nvSpPr>
            <p:spPr bwMode="auto">
              <a:xfrm>
                <a:off x="1997528" y="4421306"/>
                <a:ext cx="1195418" cy="1088334"/>
              </a:xfrm>
              <a:prstGeom prst="wedgeRectCallout">
                <a:avLst>
                  <a:gd name="adj1" fmla="val 80440"/>
                  <a:gd name="adj2" fmla="val -51954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6" name="Rektangulær billedforklaring 80"/>
              <p:cNvSpPr>
                <a:spLocks noChangeArrowheads="1"/>
              </p:cNvSpPr>
              <p:nvPr/>
            </p:nvSpPr>
            <p:spPr bwMode="auto">
              <a:xfrm>
                <a:off x="1662631" y="3429285"/>
                <a:ext cx="1196920" cy="956707"/>
              </a:xfrm>
              <a:prstGeom prst="wedgeRectCallout">
                <a:avLst>
                  <a:gd name="adj1" fmla="val 72801"/>
                  <a:gd name="adj2" fmla="val -36023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8" name="Rektangulær billedforklaring 82"/>
              <p:cNvSpPr>
                <a:spLocks noChangeArrowheads="1"/>
              </p:cNvSpPr>
              <p:nvPr/>
            </p:nvSpPr>
            <p:spPr bwMode="auto">
              <a:xfrm>
                <a:off x="1616075" y="2392317"/>
                <a:ext cx="1196920" cy="958312"/>
              </a:xfrm>
              <a:prstGeom prst="wedgeRectCallout">
                <a:avLst>
                  <a:gd name="adj1" fmla="val 82991"/>
                  <a:gd name="adj2" fmla="val -12125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9" name="Rektangulær billedforklaring 84"/>
              <p:cNvSpPr>
                <a:spLocks noChangeArrowheads="1"/>
              </p:cNvSpPr>
              <p:nvPr/>
            </p:nvSpPr>
            <p:spPr bwMode="auto">
              <a:xfrm>
                <a:off x="1999030" y="1251012"/>
                <a:ext cx="1195418" cy="956707"/>
              </a:xfrm>
              <a:prstGeom prst="wedgeRectCallout">
                <a:avLst>
                  <a:gd name="adj1" fmla="val 74074"/>
                  <a:gd name="adj2" fmla="val 40449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813" name="Rektangel 83"/>
              <p:cNvSpPr>
                <a:spLocks noChangeArrowheads="1"/>
              </p:cNvSpPr>
              <p:nvPr/>
            </p:nvSpPr>
            <p:spPr bwMode="auto">
              <a:xfrm>
                <a:off x="1676268" y="3385243"/>
                <a:ext cx="1206500" cy="10159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Dicembre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Mappatura laboratori e attrezzature</a:t>
                </a:r>
              </a:p>
            </p:txBody>
          </p:sp>
          <p:sp>
            <p:nvSpPr>
              <p:cNvPr id="32814" name="Rektangel 85"/>
              <p:cNvSpPr>
                <a:spLocks noChangeArrowheads="1"/>
              </p:cNvSpPr>
              <p:nvPr/>
            </p:nvSpPr>
            <p:spPr bwMode="auto">
              <a:xfrm>
                <a:off x="2015717" y="4391441"/>
                <a:ext cx="1286898" cy="14515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Novembre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Partecipazione a Tavoli </a:t>
                </a:r>
                <a:r>
                  <a:rPr lang="it-IT" sz="1108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MISE-MIUR</a:t>
                </a: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. Test pilota sugli indicatori</a:t>
                </a:r>
              </a:p>
            </p:txBody>
          </p:sp>
          <p:sp>
            <p:nvSpPr>
              <p:cNvPr id="92" name="Rektangulær billedforklaring 86"/>
              <p:cNvSpPr>
                <a:spLocks noChangeArrowheads="1"/>
              </p:cNvSpPr>
              <p:nvPr/>
            </p:nvSpPr>
            <p:spPr bwMode="auto">
              <a:xfrm>
                <a:off x="3230491" y="669925"/>
                <a:ext cx="1488265" cy="956707"/>
              </a:xfrm>
              <a:prstGeom prst="wedgeRectCallout">
                <a:avLst>
                  <a:gd name="adj1" fmla="val 25671"/>
                  <a:gd name="adj2" fmla="val 80282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816" name="Rektangel 87"/>
              <p:cNvSpPr>
                <a:spLocks noChangeArrowheads="1"/>
              </p:cNvSpPr>
              <p:nvPr/>
            </p:nvSpPr>
            <p:spPr bwMode="auto">
              <a:xfrm>
                <a:off x="1662515" y="2390652"/>
                <a:ext cx="1287441" cy="10159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Gennaio ’14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Aggiornamento analisi di contesto</a:t>
                </a:r>
              </a:p>
            </p:txBody>
          </p:sp>
        </p:grpSp>
      </p:grpSp>
      <p:sp>
        <p:nvSpPr>
          <p:cNvPr id="32771" name="Rektangel 71"/>
          <p:cNvSpPr>
            <a:spLocks noChangeArrowheads="1"/>
          </p:cNvSpPr>
          <p:nvPr/>
        </p:nvSpPr>
        <p:spPr bwMode="auto">
          <a:xfrm>
            <a:off x="6759820" y="4799135"/>
            <a:ext cx="1822938" cy="529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Agosto-settembre  ‘13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0B0F0"/>
                </a:solidFill>
                <a:latin typeface="Calibri" pitchFamily="34" charset="0"/>
                <a:cs typeface="Arial" charset="0"/>
              </a:rPr>
              <a:t>Elaborazione Vision</a:t>
            </a:r>
          </a:p>
        </p:txBody>
      </p:sp>
      <p:sp>
        <p:nvSpPr>
          <p:cNvPr id="32772" name="Rektangel 83"/>
          <p:cNvSpPr>
            <a:spLocks noChangeArrowheads="1"/>
          </p:cNvSpPr>
          <p:nvPr/>
        </p:nvSpPr>
        <p:spPr bwMode="auto">
          <a:xfrm>
            <a:off x="5593374" y="5418993"/>
            <a:ext cx="1334965" cy="728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Ottobre ‘13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0B0F0"/>
                </a:solidFill>
                <a:latin typeface="Calibri" pitchFamily="34" charset="0"/>
                <a:cs typeface="Arial" charset="0"/>
              </a:rPr>
              <a:t>Partecipazione Tavoli </a:t>
            </a:r>
            <a:r>
              <a:rPr lang="it-IT" sz="1108" b="1" noProof="1">
                <a:solidFill>
                  <a:srgbClr val="00B0F0"/>
                </a:solidFill>
                <a:latin typeface="Calibri" pitchFamily="34" charset="0"/>
                <a:cs typeface="Arial" charset="0"/>
              </a:rPr>
              <a:t>MISE-MIUR</a:t>
            </a:r>
          </a:p>
        </p:txBody>
      </p:sp>
      <p:sp>
        <p:nvSpPr>
          <p:cNvPr id="32773" name="Rektangel 85"/>
          <p:cNvSpPr>
            <a:spLocks noChangeArrowheads="1"/>
          </p:cNvSpPr>
          <p:nvPr/>
        </p:nvSpPr>
        <p:spPr bwMode="auto">
          <a:xfrm>
            <a:off x="4377104" y="5351585"/>
            <a:ext cx="1170842" cy="92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Novembre ‘13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chemeClr val="accent1"/>
                </a:solidFill>
                <a:latin typeface="Calibri" pitchFamily="34" charset="0"/>
                <a:cs typeface="Arial" charset="0"/>
              </a:rPr>
              <a:t>Elaborazione primo Sistema di indicatori</a:t>
            </a:r>
          </a:p>
        </p:txBody>
      </p:sp>
      <p:sp>
        <p:nvSpPr>
          <p:cNvPr id="32774" name="Rektangel 87"/>
          <p:cNvSpPr>
            <a:spLocks noChangeArrowheads="1"/>
          </p:cNvSpPr>
          <p:nvPr/>
        </p:nvSpPr>
        <p:spPr bwMode="auto">
          <a:xfrm>
            <a:off x="3118339" y="1745274"/>
            <a:ext cx="1170843" cy="92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Gennaio ’14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chemeClr val="accent1"/>
                </a:solidFill>
                <a:latin typeface="Calibri" pitchFamily="34" charset="0"/>
                <a:cs typeface="Arial" charset="0"/>
              </a:rPr>
              <a:t>Schede tematiche priorità</a:t>
            </a:r>
          </a:p>
        </p:txBody>
      </p:sp>
      <p:sp>
        <p:nvSpPr>
          <p:cNvPr id="32775" name="Rektangel 87"/>
          <p:cNvSpPr>
            <a:spLocks noChangeArrowheads="1"/>
          </p:cNvSpPr>
          <p:nvPr/>
        </p:nvSpPr>
        <p:spPr bwMode="auto">
          <a:xfrm>
            <a:off x="4347797" y="1334966"/>
            <a:ext cx="1560634" cy="529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Febbraio ’14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Invio Progress n. 2</a:t>
            </a:r>
          </a:p>
        </p:txBody>
      </p:sp>
      <p:grpSp>
        <p:nvGrpSpPr>
          <p:cNvPr id="32776" name="Gruppo 6"/>
          <p:cNvGrpSpPr>
            <a:grpSpLocks/>
          </p:cNvGrpSpPr>
          <p:nvPr/>
        </p:nvGrpSpPr>
        <p:grpSpPr bwMode="auto">
          <a:xfrm>
            <a:off x="168520" y="5423389"/>
            <a:ext cx="2781300" cy="778119"/>
            <a:chOff x="-147930" y="-613865"/>
            <a:chExt cx="3525613" cy="843596"/>
          </a:xfrm>
        </p:grpSpPr>
        <p:graphicFrame>
          <p:nvGraphicFramePr>
            <p:cNvPr id="3" name="Diagramma 2"/>
            <p:cNvGraphicFramePr/>
            <p:nvPr/>
          </p:nvGraphicFramePr>
          <p:xfrm>
            <a:off x="-147930" y="-607827"/>
            <a:ext cx="3525613" cy="8375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sp>
          <p:nvSpPr>
            <p:cNvPr id="32782" name="CasellaDiTesto 4"/>
            <p:cNvSpPr txBox="1">
              <a:spLocks noChangeArrowheads="1"/>
            </p:cNvSpPr>
            <p:nvPr/>
          </p:nvSpPr>
          <p:spPr bwMode="auto">
            <a:xfrm>
              <a:off x="52235" y="-613865"/>
              <a:ext cx="3125282" cy="408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662" b="1">
                  <a:solidFill>
                    <a:srgbClr val="FF0000"/>
                  </a:solidFill>
                </a:rPr>
                <a:t>Il nostro percorso </a:t>
              </a:r>
              <a:r>
                <a:rPr lang="it-IT" sz="1846" b="1">
                  <a:solidFill>
                    <a:srgbClr val="FF0000"/>
                  </a:solidFill>
                </a:rPr>
                <a:t>…</a:t>
              </a:r>
            </a:p>
          </p:txBody>
        </p:sp>
      </p:grpSp>
      <p:pic>
        <p:nvPicPr>
          <p:cNvPr id="5127" name="Picture 7" descr="C:\Users\User\AppData\Local\Microsoft\Windows\Temporary Internet Files\Content.IE5\DZV5P7NP\MC900441896[1].wmf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779205" y="4112902"/>
            <a:ext cx="1768251" cy="1226287"/>
          </a:xfrm>
          <a:prstGeom prst="rect">
            <a:avLst/>
          </a:prstGeom>
          <a:noFill/>
          <a:extLst/>
        </p:spPr>
      </p:pic>
      <p:grpSp>
        <p:nvGrpSpPr>
          <p:cNvPr id="32778" name="Gruppo 86"/>
          <p:cNvGrpSpPr>
            <a:grpSpLocks/>
          </p:cNvGrpSpPr>
          <p:nvPr/>
        </p:nvGrpSpPr>
        <p:grpSpPr bwMode="auto">
          <a:xfrm>
            <a:off x="168520" y="5423389"/>
            <a:ext cx="2781300" cy="778119"/>
            <a:chOff x="-147930" y="-613865"/>
            <a:chExt cx="3525613" cy="843596"/>
          </a:xfrm>
        </p:grpSpPr>
        <p:graphicFrame>
          <p:nvGraphicFramePr>
            <p:cNvPr id="99" name="Diagramma 98"/>
            <p:cNvGraphicFramePr/>
            <p:nvPr/>
          </p:nvGraphicFramePr>
          <p:xfrm>
            <a:off x="-147930" y="-607827"/>
            <a:ext cx="3525613" cy="8375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4" r:lo="rId15" r:qs="rId16" r:cs="rId17"/>
            </a:graphicData>
          </a:graphic>
        </p:graphicFrame>
        <p:sp>
          <p:nvSpPr>
            <p:cNvPr id="32780" name="CasellaDiTesto 99"/>
            <p:cNvSpPr txBox="1">
              <a:spLocks noChangeArrowheads="1"/>
            </p:cNvSpPr>
            <p:nvPr/>
          </p:nvSpPr>
          <p:spPr bwMode="auto">
            <a:xfrm>
              <a:off x="52235" y="-613865"/>
              <a:ext cx="3125282" cy="408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662" b="1">
                  <a:solidFill>
                    <a:srgbClr val="FF0000"/>
                  </a:solidFill>
                </a:rPr>
                <a:t>Il nostro percorso </a:t>
              </a:r>
              <a:r>
                <a:rPr lang="it-IT" sz="1846" b="1">
                  <a:solidFill>
                    <a:srgbClr val="FF0000"/>
                  </a:solidFill>
                </a:rPr>
                <a:t>…</a:t>
              </a:r>
            </a:p>
          </p:txBody>
        </p:sp>
      </p:grpSp>
      <p:graphicFrame>
        <p:nvGraphicFramePr>
          <p:cNvPr id="51" name="Diagramma 50"/>
          <p:cNvGraphicFramePr/>
          <p:nvPr>
            <p:extLst>
              <p:ext uri="{D42A27DB-BD31-4B8C-83A1-F6EECF244321}">
                <p14:modId xmlns:p14="http://schemas.microsoft.com/office/powerpoint/2010/main" val="2012050204"/>
              </p:ext>
            </p:extLst>
          </p:nvPr>
        </p:nvGraphicFramePr>
        <p:xfrm>
          <a:off x="195858" y="738329"/>
          <a:ext cx="876863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</p:spTree>
    <p:extLst>
      <p:ext uri="{BB962C8B-B14F-4D97-AF65-F5344CB8AC3E}">
        <p14:creationId xmlns:p14="http://schemas.microsoft.com/office/powerpoint/2010/main" val="2775545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 noGrp="1"/>
          </p:cNvSpPr>
          <p:nvPr>
            <p:ph type="title" idx="4294967295"/>
          </p:nvPr>
        </p:nvSpPr>
        <p:spPr>
          <a:xfrm>
            <a:off x="611560" y="1052736"/>
            <a:ext cx="7976089" cy="1302187"/>
          </a:xfrm>
        </p:spPr>
        <p:txBody>
          <a:bodyPr>
            <a:normAutofit fontScale="90000"/>
          </a:bodyPr>
          <a:lstStyle/>
          <a:p>
            <a:pPr marL="422041" lvl="0">
              <a:buSzPct val="45000"/>
              <a:defRPr/>
            </a:pPr>
            <a: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 </a:t>
            </a:r>
            <a:b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</a:br>
            <a:r>
              <a:rPr lang="it-IT" sz="2000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sz="2000" b="1" dirty="0" smtClean="0">
                <a:solidFill>
                  <a:schemeClr val="accent1">
                    <a:lumMod val="75000"/>
                  </a:schemeClr>
                </a:solidFill>
              </a:rPr>
              <a:t>Sicilia: prossime tappe</a:t>
            </a:r>
            <a:r>
              <a:rPr lang="it-IT" sz="2000" dirty="0"/>
              <a:t/>
            </a:r>
            <a:br>
              <a:rPr lang="it-IT" sz="2000" dirty="0"/>
            </a:br>
            <a:r>
              <a:rPr lang="it-IT" sz="2215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Azioni </a:t>
            </a:r>
            <a: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previste e risultati attesi nei prossimi mesi </a:t>
            </a:r>
            <a:b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</a:br>
            <a: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(aprile-dicembre 2014)</a:t>
            </a:r>
            <a:b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</a:br>
            <a:endParaRPr lang="it-IT" sz="2215" dirty="0">
              <a:solidFill>
                <a:schemeClr val="accent1">
                  <a:lumMod val="60000"/>
                  <a:lumOff val="40000"/>
                </a:schemeClr>
              </a:solidFill>
              <a:latin typeface="Neo Sans Std Medium"/>
              <a:ea typeface="+mn-ea"/>
              <a:cs typeface="Arial" pitchFamily="34" charset="0"/>
            </a:endParaRPr>
          </a:p>
        </p:txBody>
      </p:sp>
      <p:graphicFrame>
        <p:nvGraphicFramePr>
          <p:cNvPr id="3" name="Segnaposto contenuto 2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62291757"/>
              </p:ext>
            </p:extLst>
          </p:nvPr>
        </p:nvGraphicFramePr>
        <p:xfrm>
          <a:off x="450927" y="1767254"/>
          <a:ext cx="8175678" cy="45617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Diagramma 3"/>
          <p:cNvGraphicFramePr/>
          <p:nvPr/>
        </p:nvGraphicFramePr>
        <p:xfrm>
          <a:off x="914974" y="1501401"/>
          <a:ext cx="7696904" cy="797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6004991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83865" y="908720"/>
            <a:ext cx="8232531" cy="863600"/>
          </a:xfrm>
          <a:noFill/>
        </p:spPr>
        <p:txBody>
          <a:bodyPr/>
          <a:lstStyle/>
          <a:p>
            <a:pPr algn="ctr">
              <a:defRPr/>
            </a:pP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La RIS 3 Sicilia ha </a:t>
            </a:r>
            <a:r>
              <a:rPr lang="it-IT" sz="2400" kern="1200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avviato un processo per </a:t>
            </a: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valorizzare</a:t>
            </a:r>
            <a:b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</a:b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 </a:t>
            </a:r>
            <a:r>
              <a:rPr lang="it-IT" sz="2400" kern="1200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il potenziale individuato </a:t>
            </a: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attraverso:</a:t>
            </a:r>
            <a:endParaRPr lang="it-IT" sz="2400" kern="1200" dirty="0">
              <a:solidFill>
                <a:schemeClr val="accent2"/>
              </a:solidFill>
              <a:latin typeface="Neo Sans Std Medium" pitchFamily="34" charset="0"/>
              <a:ea typeface="+mn-ea"/>
              <a:cs typeface="+mn-cs"/>
            </a:endParaRPr>
          </a:p>
        </p:txBody>
      </p: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3008082779"/>
              </p:ext>
            </p:extLst>
          </p:nvPr>
        </p:nvGraphicFramePr>
        <p:xfrm>
          <a:off x="716802" y="1772816"/>
          <a:ext cx="7976271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1025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835696" y="548680"/>
            <a:ext cx="5472608" cy="432048"/>
          </a:xfrm>
          <a:noFill/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it-IT" sz="3200" kern="1200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Obiettivi</a:t>
            </a:r>
          </a:p>
        </p:txBody>
      </p: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4130903669"/>
              </p:ext>
            </p:extLst>
          </p:nvPr>
        </p:nvGraphicFramePr>
        <p:xfrm>
          <a:off x="251520" y="1196752"/>
          <a:ext cx="8693073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61963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6"/>
          <p:cNvGraphicFramePr>
            <a:graphicFrameLocks noGrp="1"/>
          </p:cNvGraphicFramePr>
          <p:nvPr>
            <p:extLst/>
          </p:nvPr>
        </p:nvGraphicFramePr>
        <p:xfrm>
          <a:off x="360735" y="2099622"/>
          <a:ext cx="8465275" cy="399272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3215492"/>
                <a:gridCol w="2450780"/>
                <a:gridCol w="2799003"/>
              </a:tblGrid>
              <a:tr h="3850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100" dirty="0" smtClean="0">
                          <a:effectLst/>
                        </a:rPr>
                        <a:t>OBIETTIVI GENERALI</a:t>
                      </a:r>
                      <a:endParaRPr lang="it-IT" sz="1100" b="1" dirty="0" smtClean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1259" marR="6125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100" dirty="0" smtClean="0">
                          <a:effectLst/>
                        </a:rPr>
                        <a:t>LEVE DEL CAMBIAMENTO</a:t>
                      </a:r>
                      <a:endParaRPr lang="it-IT" sz="11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61259" marR="6125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100" dirty="0" smtClean="0">
                          <a:effectLst/>
                        </a:rPr>
                        <a:t>RISORSE DA ATTIVARE</a:t>
                      </a:r>
                      <a:endParaRPr lang="it-IT" sz="11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61259" marR="6125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333">
                <a:tc rowSpan="3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Rafforzare il sistema produttivo regionale</a:t>
                      </a:r>
                      <a:r>
                        <a:rPr lang="it-IT" sz="1300" dirty="0">
                          <a:effectLst/>
                        </a:rPr>
                        <a:t> </a:t>
                      </a:r>
                      <a:r>
                        <a:rPr lang="it-IT" sz="1000" kern="1200" dirty="0"/>
                        <a:t>supportando il posizionamento nelle aree tecnologiche in cui la regione vanta delle competenze </a:t>
                      </a:r>
                      <a:r>
                        <a:rPr lang="it-IT" sz="1000" kern="1200" dirty="0" smtClean="0"/>
                        <a:t>distintive ( KETs: micro-elettronica e biotecnologie) </a:t>
                      </a:r>
                      <a:r>
                        <a:rPr lang="it-IT" sz="1000" kern="1200" dirty="0"/>
                        <a:t>e promuovendo </a:t>
                      </a:r>
                      <a:r>
                        <a:rPr lang="it-IT" sz="1000" kern="1200" dirty="0" smtClean="0"/>
                        <a:t>l’innalzamento del livello </a:t>
                      </a:r>
                      <a:r>
                        <a:rPr lang="it-IT" sz="1000" kern="1200" dirty="0"/>
                        <a:t>tecnologico e la scoperta imprenditoriale nei settori produttivi tradizionali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 smtClean="0"/>
                        <a:t>Significativo posizionamento </a:t>
                      </a:r>
                      <a:r>
                        <a:rPr lang="it-IT" sz="1000" b="1" kern="1200" dirty="0"/>
                        <a:t>competitivo</a:t>
                      </a:r>
                      <a:r>
                        <a:rPr lang="it-IT" sz="1000" kern="1200" dirty="0"/>
                        <a:t> del sistema regione nel presidio di alcune </a:t>
                      </a:r>
                      <a:r>
                        <a:rPr lang="it-IT" sz="1000" kern="1200" dirty="0" smtClean="0"/>
                        <a:t>KETs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ee di expertise chiave,  </a:t>
                      </a:r>
                      <a:r>
                        <a:rPr lang="it-IT" sz="1000" kern="1200" dirty="0"/>
                        <a:t>sistemi avanzati di relazione tra Università, centri di ricerca, grandi imprese  &amp; PMI 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723">
                <a:tc vMerge="1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it-IT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364" marR="66364" marT="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nsità del tessuto economico/imprenditoriale </a:t>
                      </a:r>
                      <a:r>
                        <a:rPr lang="it-IT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dizionale (n. imprese, addetti) e presenza di fattori endogeni </a:t>
                      </a:r>
                      <a:r>
                        <a:rPr lang="it-IT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qualificanti</a:t>
                      </a:r>
                    </a:p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endParaRPr lang="it-IT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Asset sottoutilizzati</a:t>
                      </a:r>
                      <a:r>
                        <a:rPr lang="it-IT" sz="1000" kern="1200" dirty="0"/>
                        <a:t>, Settori economici tradizionali, innovazioni tecnologiche e non 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9415">
                <a:tc vMerge="1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it-IT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364" marR="66364" marT="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Matching tra imprenditorialità</a:t>
                      </a:r>
                      <a:r>
                        <a:rPr lang="it-IT" sz="1000" kern="1200" dirty="0"/>
                        <a:t>, anche potenziale, e l’offerta di ricerca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Imprenditori (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 e non 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kern="1200" dirty="0"/>
                        <a:t>) e </a:t>
                      </a:r>
                      <a:r>
                        <a:rPr lang="it-IT" sz="1000" b="1" kern="1200" dirty="0"/>
                        <a:t>offerta di ricerca 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11825">
                <a:tc rowSpan="2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stenere la diffusione di soluzioni e servizi innovativi </a:t>
                      </a:r>
                      <a:r>
                        <a:rPr lang="it-IT" sz="1000" kern="1200" dirty="0" smtClean="0"/>
                        <a:t>in risposta ai bisogni sociali, economici ed ambientali insoddisfatti e finalizzati a migliorare la qualità della vita dei siciliani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kern="1200" dirty="0" smtClean="0"/>
                        <a:t> 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Utilizzo diffuso delle innovazioni </a:t>
                      </a:r>
                      <a:r>
                        <a:rPr lang="it-IT" sz="1000" kern="1200" dirty="0"/>
                        <a:t>(anche non </a:t>
                      </a:r>
                      <a:r>
                        <a:rPr lang="it-IT" sz="1000" kern="1200" dirty="0" err="1"/>
                        <a:t>tech</a:t>
                      </a:r>
                      <a:r>
                        <a:rPr lang="it-IT" sz="1000" kern="1200" dirty="0"/>
                        <a:t>) in risposta alle sfide sociali emergenti negli ambienti urbani e </a:t>
                      </a:r>
                      <a:r>
                        <a:rPr lang="it-IT" sz="1000" kern="1200" dirty="0" smtClean="0"/>
                        <a:t>marginali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Applicazione delle KET </a:t>
                      </a:r>
                      <a:r>
                        <a:rPr lang="it-IT" sz="1000" kern="1200" dirty="0"/>
                        <a:t>in risposta alla domanda pubblica di servizi innovativi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6774"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Presenza di nuove categorie </a:t>
                      </a:r>
                      <a:r>
                        <a:rPr lang="it-IT" sz="1000" kern="1200" dirty="0"/>
                        <a:t>degli innovatori sociali e di creativi culturali.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Imprenditori (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 e non 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), creativi culturali e strumentalità dell’ICT 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455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muovere la più ampia diffusione della cultura dell’innovazione </a:t>
                      </a:r>
                      <a:r>
                        <a:rPr lang="it-IT" sz="1000" kern="1200" dirty="0"/>
                        <a:t>a tutti i livelli della società </a:t>
                      </a:r>
                      <a:r>
                        <a:rPr lang="it-IT" sz="1000" kern="1200" dirty="0" smtClean="0"/>
                        <a:t>regionale</a:t>
                      </a:r>
                      <a:endParaRPr lang="it-IT" sz="1000" kern="1200" dirty="0"/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Potenziale latente di domanda / produzione di innovazione</a:t>
                      </a:r>
                      <a:r>
                        <a:rPr lang="it-IT" sz="1000" kern="1200" dirty="0"/>
                        <a:t> e creatività del capitale umano 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Imprenditori (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 e non 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), creativi culturali, studenti, giovani e pubblica amministrazione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Rettangolo 1"/>
          <p:cNvSpPr/>
          <p:nvPr/>
        </p:nvSpPr>
        <p:spPr>
          <a:xfrm>
            <a:off x="384458" y="1195775"/>
            <a:ext cx="6846277" cy="43319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2215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Neo Sans Std Medium" pitchFamily="34" charset="0"/>
              </a:rPr>
              <a:t>I PILASTRI DELLA STRATEGIA</a:t>
            </a:r>
            <a:endParaRPr lang="it-IT" sz="2215" b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Neo Sans Std Medium" pitchFamily="34" charset="0"/>
            </a:endParaRPr>
          </a:p>
        </p:txBody>
      </p:sp>
      <p:grpSp>
        <p:nvGrpSpPr>
          <p:cNvPr id="5" name="Gruppo 4"/>
          <p:cNvGrpSpPr/>
          <p:nvPr/>
        </p:nvGrpSpPr>
        <p:grpSpPr>
          <a:xfrm>
            <a:off x="5103751" y="716413"/>
            <a:ext cx="3389498" cy="1395847"/>
            <a:chOff x="4736976" y="548680"/>
            <a:chExt cx="5184124" cy="1944216"/>
          </a:xfrm>
        </p:grpSpPr>
        <p:graphicFrame>
          <p:nvGraphicFramePr>
            <p:cNvPr id="6" name="Diagramma 5"/>
            <p:cNvGraphicFramePr/>
            <p:nvPr>
              <p:extLst/>
            </p:nvPr>
          </p:nvGraphicFramePr>
          <p:xfrm>
            <a:off x="6650736" y="548680"/>
            <a:ext cx="3270364" cy="19442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7" name="Diagramma 6"/>
            <p:cNvGraphicFramePr/>
            <p:nvPr>
              <p:extLst/>
            </p:nvPr>
          </p:nvGraphicFramePr>
          <p:xfrm>
            <a:off x="4736976" y="1052736"/>
            <a:ext cx="4104456" cy="43088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sp>
        <p:nvSpPr>
          <p:cNvPr id="3" name="Rettangolo 2"/>
          <p:cNvSpPr/>
          <p:nvPr/>
        </p:nvSpPr>
        <p:spPr>
          <a:xfrm>
            <a:off x="0" y="579196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1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6496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0927" y="1434810"/>
            <a:ext cx="8232531" cy="864096"/>
          </a:xfrm>
          <a:noFill/>
        </p:spPr>
        <p:txBody>
          <a:bodyPr>
            <a:normAutofit fontScale="90000"/>
          </a:bodyPr>
          <a:lstStyle/>
          <a:p>
            <a:pPr lvl="0" algn="ctr"/>
            <a:r>
              <a:rPr lang="it-IT" sz="2215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Il perseguimento dei tre obiettivi verrà effettuato mediante un approccio </a:t>
            </a:r>
            <a:r>
              <a:rPr lang="it-IT" sz="2215" i="1" dirty="0">
                <a:solidFill>
                  <a:srgbClr val="FF0000"/>
                </a:solidFill>
                <a:latin typeface="Neo Sans Std Medium" pitchFamily="34" charset="0"/>
                <a:ea typeface="+mn-ea"/>
                <a:cs typeface="+mn-cs"/>
              </a:rPr>
              <a:t>logico duale </a:t>
            </a:r>
            <a:r>
              <a:rPr lang="it-IT" sz="2215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/>
            </a:r>
            <a:br>
              <a:rPr lang="it-IT" sz="2215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</a:br>
            <a:endParaRPr lang="it-IT" sz="2215" dirty="0">
              <a:solidFill>
                <a:schemeClr val="accent2"/>
              </a:solidFill>
              <a:latin typeface="Neo Sans Std Medium" pitchFamily="34" charset="0"/>
              <a:ea typeface="+mn-ea"/>
              <a:cs typeface="+mn-cs"/>
            </a:endParaRPr>
          </a:p>
        </p:txBody>
      </p:sp>
      <p:graphicFrame>
        <p:nvGraphicFramePr>
          <p:cNvPr id="3" name="Diagramma 2"/>
          <p:cNvGraphicFramePr/>
          <p:nvPr>
            <p:extLst/>
          </p:nvPr>
        </p:nvGraphicFramePr>
        <p:xfrm>
          <a:off x="583865" y="1833746"/>
          <a:ext cx="8375084" cy="39881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3973780" y="2128446"/>
            <a:ext cx="3057570" cy="348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62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Neo Sans Std Medium" pitchFamily="34" charset="0"/>
              </a:rPr>
              <a:t>Attraverso interventi ….</a:t>
            </a:r>
          </a:p>
        </p:txBody>
      </p:sp>
      <p:graphicFrame>
        <p:nvGraphicFramePr>
          <p:cNvPr id="4" name="Diagramma 3"/>
          <p:cNvGraphicFramePr/>
          <p:nvPr>
            <p:extLst/>
          </p:nvPr>
        </p:nvGraphicFramePr>
        <p:xfrm>
          <a:off x="5203455" y="4027221"/>
          <a:ext cx="3655791" cy="34043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7" name="Diagramma 6"/>
          <p:cNvGraphicFramePr/>
          <p:nvPr>
            <p:extLst/>
          </p:nvPr>
        </p:nvGraphicFramePr>
        <p:xfrm>
          <a:off x="517396" y="3894283"/>
          <a:ext cx="3988135" cy="14623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8" name="Rettangolo 7"/>
          <p:cNvSpPr/>
          <p:nvPr/>
        </p:nvSpPr>
        <p:spPr>
          <a:xfrm>
            <a:off x="0" y="579196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2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  <p:graphicFrame>
        <p:nvGraphicFramePr>
          <p:cNvPr id="9" name="Diagramma 8"/>
          <p:cNvGraphicFramePr/>
          <p:nvPr>
            <p:extLst>
              <p:ext uri="{D42A27DB-BD31-4B8C-83A1-F6EECF244321}">
                <p14:modId xmlns:p14="http://schemas.microsoft.com/office/powerpoint/2010/main" val="3120867031"/>
              </p:ext>
            </p:extLst>
          </p:nvPr>
        </p:nvGraphicFramePr>
        <p:xfrm>
          <a:off x="6660232" y="204437"/>
          <a:ext cx="2138238" cy="1395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</p:spTree>
    <p:extLst>
      <p:ext uri="{BB962C8B-B14F-4D97-AF65-F5344CB8AC3E}">
        <p14:creationId xmlns:p14="http://schemas.microsoft.com/office/powerpoint/2010/main" val="178613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o 2"/>
          <p:cNvGrpSpPr/>
          <p:nvPr/>
        </p:nvGrpSpPr>
        <p:grpSpPr>
          <a:xfrm>
            <a:off x="5488975" y="204437"/>
            <a:ext cx="3389498" cy="1395847"/>
            <a:chOff x="4736976" y="548680"/>
            <a:chExt cx="5184124" cy="1944216"/>
          </a:xfrm>
        </p:grpSpPr>
        <p:graphicFrame>
          <p:nvGraphicFramePr>
            <p:cNvPr id="4" name="Diagramma 3"/>
            <p:cNvGraphicFramePr/>
            <p:nvPr>
              <p:extLst/>
            </p:nvPr>
          </p:nvGraphicFramePr>
          <p:xfrm>
            <a:off x="6650736" y="548680"/>
            <a:ext cx="3270364" cy="19442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5" name="Diagramma 4"/>
            <p:cNvGraphicFramePr/>
            <p:nvPr>
              <p:extLst/>
            </p:nvPr>
          </p:nvGraphicFramePr>
          <p:xfrm>
            <a:off x="4736976" y="1052736"/>
            <a:ext cx="4104456" cy="43088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cxnSp>
        <p:nvCxnSpPr>
          <p:cNvPr id="26" name="Connettore 2 25"/>
          <p:cNvCxnSpPr>
            <a:endCxn id="46" idx="2"/>
          </p:cNvCxnSpPr>
          <p:nvPr/>
        </p:nvCxnSpPr>
        <p:spPr bwMode="auto">
          <a:xfrm>
            <a:off x="2368132" y="5007128"/>
            <a:ext cx="4834237" cy="1039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arrow"/>
          </a:ln>
          <a:effectLst/>
        </p:spPr>
      </p:cxnSp>
      <p:grpSp>
        <p:nvGrpSpPr>
          <p:cNvPr id="8" name="Gruppo 7"/>
          <p:cNvGrpSpPr/>
          <p:nvPr/>
        </p:nvGrpSpPr>
        <p:grpSpPr>
          <a:xfrm>
            <a:off x="552357" y="902361"/>
            <a:ext cx="7404019" cy="5063960"/>
            <a:chOff x="558867" y="1169057"/>
            <a:chExt cx="5874263" cy="4498681"/>
          </a:xfrm>
        </p:grpSpPr>
        <p:graphicFrame>
          <p:nvGraphicFramePr>
            <p:cNvPr id="34820" name="Diagramma 34819"/>
            <p:cNvGraphicFramePr/>
            <p:nvPr>
              <p:extLst>
                <p:ext uri="{D42A27DB-BD31-4B8C-83A1-F6EECF244321}">
                  <p14:modId xmlns:p14="http://schemas.microsoft.com/office/powerpoint/2010/main" val="852175388"/>
                </p:ext>
              </p:extLst>
            </p:nvPr>
          </p:nvGraphicFramePr>
          <p:xfrm>
            <a:off x="2511464" y="1169057"/>
            <a:ext cx="1847058" cy="71025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  <p:graphicFrame>
          <p:nvGraphicFramePr>
            <p:cNvPr id="37" name="Diagramma 36"/>
            <p:cNvGraphicFramePr/>
            <p:nvPr>
              <p:extLst>
                <p:ext uri="{D42A27DB-BD31-4B8C-83A1-F6EECF244321}">
                  <p14:modId xmlns:p14="http://schemas.microsoft.com/office/powerpoint/2010/main" val="2760993386"/>
                </p:ext>
              </p:extLst>
            </p:nvPr>
          </p:nvGraphicFramePr>
          <p:xfrm>
            <a:off x="4638469" y="1302304"/>
            <a:ext cx="1794661" cy="71025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7" r:lo="rId18" r:qs="rId19" r:cs="rId20"/>
            </a:graphicData>
          </a:graphic>
        </p:graphicFrame>
        <p:grpSp>
          <p:nvGrpSpPr>
            <p:cNvPr id="6" name="Gruppo 5"/>
            <p:cNvGrpSpPr/>
            <p:nvPr/>
          </p:nvGrpSpPr>
          <p:grpSpPr>
            <a:xfrm>
              <a:off x="558867" y="1866981"/>
              <a:ext cx="5702872" cy="3800757"/>
              <a:chOff x="558867" y="1866981"/>
              <a:chExt cx="5702872" cy="3800757"/>
            </a:xfrm>
          </p:grpSpPr>
          <p:grpSp>
            <p:nvGrpSpPr>
              <p:cNvPr id="34837" name="Gruppo 34836"/>
              <p:cNvGrpSpPr/>
              <p:nvPr/>
            </p:nvGrpSpPr>
            <p:grpSpPr>
              <a:xfrm>
                <a:off x="558867" y="1866981"/>
                <a:ext cx="5702872" cy="3800757"/>
                <a:chOff x="605439" y="1736812"/>
                <a:chExt cx="6178111" cy="4117486"/>
              </a:xfrm>
            </p:grpSpPr>
            <p:grpSp>
              <p:nvGrpSpPr>
                <p:cNvPr id="34822" name="Gruppo 34821"/>
                <p:cNvGrpSpPr/>
                <p:nvPr/>
              </p:nvGrpSpPr>
              <p:grpSpPr>
                <a:xfrm>
                  <a:off x="605439" y="1736812"/>
                  <a:ext cx="6178111" cy="4117486"/>
                  <a:chOff x="963965" y="1340768"/>
                  <a:chExt cx="6523471" cy="4463230"/>
                </a:xfrm>
              </p:grpSpPr>
              <p:graphicFrame>
                <p:nvGraphicFramePr>
                  <p:cNvPr id="15" name="Diagramma 14"/>
                  <p:cNvGraphicFramePr/>
                  <p:nvPr>
                    <p:extLst/>
                  </p:nvPr>
                </p:nvGraphicFramePr>
                <p:xfrm>
                  <a:off x="1064568" y="1340768"/>
                  <a:ext cx="2016224" cy="577081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22" r:lo="rId23" r:qs="rId24" r:cs="rId25"/>
                  </a:graphicData>
                </a:graphic>
              </p:graphicFrame>
              <p:graphicFrame>
                <p:nvGraphicFramePr>
                  <p:cNvPr id="14" name="Diagramma 13"/>
                  <p:cNvGraphicFramePr/>
                  <p:nvPr>
                    <p:extLst/>
                  </p:nvPr>
                </p:nvGraphicFramePr>
                <p:xfrm>
                  <a:off x="1103905" y="2038129"/>
                  <a:ext cx="2016224" cy="738664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27" r:lo="rId28" r:qs="rId29" r:cs="rId30"/>
                  </a:graphicData>
                </a:graphic>
              </p:graphicFrame>
              <p:graphicFrame>
                <p:nvGraphicFramePr>
                  <p:cNvPr id="13" name="Diagramma 12"/>
                  <p:cNvGraphicFramePr/>
                  <p:nvPr>
                    <p:extLst/>
                  </p:nvPr>
                </p:nvGraphicFramePr>
                <p:xfrm>
                  <a:off x="1078693" y="2876659"/>
                  <a:ext cx="2016224" cy="415498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2" r:lo="rId33" r:qs="rId34" r:cs="rId35"/>
                  </a:graphicData>
                </a:graphic>
              </p:graphicFrame>
              <p:graphicFrame>
                <p:nvGraphicFramePr>
                  <p:cNvPr id="12" name="Diagramma 11"/>
                  <p:cNvGraphicFramePr/>
                  <p:nvPr>
                    <p:extLst/>
                  </p:nvPr>
                </p:nvGraphicFramePr>
                <p:xfrm>
                  <a:off x="1064568" y="3571336"/>
                  <a:ext cx="2016224" cy="900246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7" r:lo="rId38" r:qs="rId39" r:cs="rId40"/>
                  </a:graphicData>
                </a:graphic>
              </p:graphicFrame>
              <p:graphicFrame>
                <p:nvGraphicFramePr>
                  <p:cNvPr id="7" name="Diagramma 6"/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2525935262"/>
                      </p:ext>
                    </p:extLst>
                  </p:nvPr>
                </p:nvGraphicFramePr>
                <p:xfrm>
                  <a:off x="1064568" y="4549328"/>
                  <a:ext cx="2016224" cy="577081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42" r:lo="rId43" r:qs="rId44" r:cs="rId45"/>
                  </a:graphicData>
                </a:graphic>
              </p:graphicFrame>
              <p:graphicFrame>
                <p:nvGraphicFramePr>
                  <p:cNvPr id="17" name="Diagramma 16"/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2708886629"/>
                      </p:ext>
                    </p:extLst>
                  </p:nvPr>
                </p:nvGraphicFramePr>
                <p:xfrm>
                  <a:off x="963965" y="5155926"/>
                  <a:ext cx="6523471" cy="648072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47" r:lo="rId48" r:qs="rId49" r:cs="rId50"/>
                  </a:graphicData>
                </a:graphic>
              </p:graphicFrame>
              <p:cxnSp>
                <p:nvCxnSpPr>
                  <p:cNvPr id="21" name="Connettore 2 20"/>
                  <p:cNvCxnSpPr/>
                  <p:nvPr/>
                </p:nvCxnSpPr>
                <p:spPr bwMode="auto">
                  <a:xfrm>
                    <a:off x="3080792" y="1628800"/>
                    <a:ext cx="1549037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3" name="Connettore 2 22"/>
                  <p:cNvCxnSpPr/>
                  <p:nvPr/>
                </p:nvCxnSpPr>
                <p:spPr bwMode="auto">
                  <a:xfrm>
                    <a:off x="3081382" y="4021459"/>
                    <a:ext cx="3900888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4" name="Connettore 2 23"/>
                  <p:cNvCxnSpPr>
                    <a:stCxn id="13" idx="3"/>
                    <a:endCxn id="44" idx="2"/>
                  </p:cNvCxnSpPr>
                  <p:nvPr/>
                </p:nvCxnSpPr>
                <p:spPr bwMode="auto">
                  <a:xfrm flipV="1">
                    <a:off x="3094917" y="3072923"/>
                    <a:ext cx="3901477" cy="11486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5" name="Connettore 2 24"/>
                  <p:cNvCxnSpPr/>
                  <p:nvPr/>
                </p:nvCxnSpPr>
                <p:spPr bwMode="auto">
                  <a:xfrm>
                    <a:off x="3120129" y="2379933"/>
                    <a:ext cx="1509700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</p:grpSp>
            <p:sp>
              <p:nvSpPr>
                <p:cNvPr id="44" name="Ovale 43"/>
                <p:cNvSpPr/>
                <p:nvPr/>
              </p:nvSpPr>
              <p:spPr bwMode="auto">
                <a:xfrm>
                  <a:off x="6318504" y="3226774"/>
                  <a:ext cx="252028" cy="216024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</p:grpSp>
          <p:grpSp>
            <p:nvGrpSpPr>
              <p:cNvPr id="2" name="Gruppo 1"/>
              <p:cNvGrpSpPr/>
              <p:nvPr/>
            </p:nvGrpSpPr>
            <p:grpSpPr>
              <a:xfrm>
                <a:off x="3807608" y="2012557"/>
                <a:ext cx="2259943" cy="2911994"/>
                <a:chOff x="3807608" y="2012557"/>
                <a:chExt cx="2259943" cy="2911994"/>
              </a:xfrm>
            </p:grpSpPr>
            <p:sp>
              <p:nvSpPr>
                <p:cNvPr id="34825" name="Ovale 34824"/>
                <p:cNvSpPr/>
                <p:nvPr/>
              </p:nvSpPr>
              <p:spPr bwMode="auto">
                <a:xfrm>
                  <a:off x="3807608" y="2012557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it-IT" sz="2031" dirty="0">
                      <a:solidFill>
                        <a:schemeClr val="bg1"/>
                      </a:solidFill>
                      <a:latin typeface="Arial" charset="0"/>
                    </a:rPr>
                    <a:t> </a:t>
                  </a:r>
                </a:p>
              </p:txBody>
            </p:sp>
            <p:sp>
              <p:nvSpPr>
                <p:cNvPr id="43" name="Ovale 42"/>
                <p:cNvSpPr/>
                <p:nvPr/>
              </p:nvSpPr>
              <p:spPr bwMode="auto">
                <a:xfrm>
                  <a:off x="3840842" y="2675642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sp>
              <p:nvSpPr>
                <p:cNvPr id="45" name="Ovale 44"/>
                <p:cNvSpPr/>
                <p:nvPr/>
              </p:nvSpPr>
              <p:spPr bwMode="auto">
                <a:xfrm>
                  <a:off x="5820117" y="4050076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sp>
              <p:nvSpPr>
                <p:cNvPr id="46" name="Ovale 45"/>
                <p:cNvSpPr/>
                <p:nvPr/>
              </p:nvSpPr>
              <p:spPr bwMode="auto">
                <a:xfrm>
                  <a:off x="5834910" y="4725144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</p:grpSp>
        </p:grpSp>
      </p:grpSp>
      <p:sp>
        <p:nvSpPr>
          <p:cNvPr id="34834" name="Rettangolo 34833"/>
          <p:cNvSpPr/>
          <p:nvPr/>
        </p:nvSpPr>
        <p:spPr bwMode="auto">
          <a:xfrm>
            <a:off x="185051" y="1780014"/>
            <a:ext cx="332345" cy="178192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C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r>
              <a:rPr lang="it-IT" sz="1108" dirty="0">
                <a:solidFill>
                  <a:srgbClr val="FF0000"/>
                </a:solidFill>
                <a:latin typeface="Neo Sans Std Medium"/>
              </a:rPr>
              <a:t>Obiettivo generale 1</a:t>
            </a:r>
          </a:p>
        </p:txBody>
      </p:sp>
      <p:sp>
        <p:nvSpPr>
          <p:cNvPr id="56" name="Rettangolo 55"/>
          <p:cNvSpPr/>
          <p:nvPr/>
        </p:nvSpPr>
        <p:spPr bwMode="auto">
          <a:xfrm>
            <a:off x="185051" y="3694876"/>
            <a:ext cx="332345" cy="139584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C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r>
              <a:rPr lang="it-IT" sz="1108" dirty="0">
                <a:solidFill>
                  <a:srgbClr val="FF0000"/>
                </a:solidFill>
                <a:latin typeface="Neo Sans Std Medium"/>
              </a:rPr>
              <a:t>Obiettivo generale 2</a:t>
            </a:r>
          </a:p>
        </p:txBody>
      </p:sp>
      <p:sp>
        <p:nvSpPr>
          <p:cNvPr id="57" name="Rettangolo 56"/>
          <p:cNvSpPr/>
          <p:nvPr/>
        </p:nvSpPr>
        <p:spPr bwMode="auto">
          <a:xfrm>
            <a:off x="185051" y="5157192"/>
            <a:ext cx="332345" cy="99703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C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r>
              <a:rPr lang="it-IT" sz="1108" dirty="0">
                <a:solidFill>
                  <a:srgbClr val="FF0000"/>
                </a:solidFill>
                <a:latin typeface="Neo Sans Std Medium"/>
              </a:rPr>
              <a:t>Obiettivo generale 3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0" y="579196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3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0487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o 4"/>
          <p:cNvGrpSpPr>
            <a:grpSpLocks/>
          </p:cNvGrpSpPr>
          <p:nvPr/>
        </p:nvGrpSpPr>
        <p:grpSpPr bwMode="auto">
          <a:xfrm>
            <a:off x="-5248" y="214968"/>
            <a:ext cx="9144000" cy="586409"/>
            <a:chOff x="45253" y="-36513"/>
            <a:chExt cx="9143999" cy="877993"/>
          </a:xfrm>
        </p:grpSpPr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8" t="21562" r="5663" b="66251"/>
            <a:stretch>
              <a:fillRect/>
            </a:stretch>
          </p:blipFill>
          <p:spPr bwMode="auto">
            <a:xfrm>
              <a:off x="45253" y="-16351"/>
              <a:ext cx="9143999" cy="857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5" descr="jaune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731" y="0"/>
              <a:ext cx="800100" cy="546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Picture 7" descr="stellon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7704" y="-36513"/>
              <a:ext cx="533400" cy="619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2" descr="Logo_POFesr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7784" y="0"/>
              <a:ext cx="827088" cy="692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1" name="Rettangolo 50"/>
          <p:cNvSpPr/>
          <p:nvPr/>
        </p:nvSpPr>
        <p:spPr>
          <a:xfrm>
            <a:off x="2200938" y="1258205"/>
            <a:ext cx="5171154" cy="433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2215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Neo Sans Std Medium" pitchFamily="34" charset="0"/>
              </a:rPr>
              <a:t>Gli Strumenti del  Policy Mix ...</a:t>
            </a:r>
          </a:p>
        </p:txBody>
      </p:sp>
      <p:graphicFrame>
        <p:nvGraphicFramePr>
          <p:cNvPr id="109" name="Diagramma 108"/>
          <p:cNvGraphicFramePr/>
          <p:nvPr>
            <p:extLst/>
          </p:nvPr>
        </p:nvGraphicFramePr>
        <p:xfrm>
          <a:off x="71535" y="2661926"/>
          <a:ext cx="231906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14" name="Gruppo 113"/>
          <p:cNvGrpSpPr/>
          <p:nvPr/>
        </p:nvGrpSpPr>
        <p:grpSpPr>
          <a:xfrm>
            <a:off x="4211960" y="1691401"/>
            <a:ext cx="801225" cy="801225"/>
            <a:chOff x="5313040" y="1959577"/>
            <a:chExt cx="867994" cy="867994"/>
          </a:xfrm>
        </p:grpSpPr>
        <p:sp>
          <p:nvSpPr>
            <p:cNvPr id="112" name="Oval 45"/>
            <p:cNvSpPr/>
            <p:nvPr/>
          </p:nvSpPr>
          <p:spPr>
            <a:xfrm>
              <a:off x="5313040" y="1959577"/>
              <a:ext cx="867994" cy="867994"/>
            </a:xfrm>
            <a:prstGeom prst="ellipse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62"/>
            </a:p>
          </p:txBody>
        </p:sp>
        <p:sp>
          <p:nvSpPr>
            <p:cNvPr id="110" name="Freeform 10"/>
            <p:cNvSpPr>
              <a:spLocks noEditPoints="1"/>
            </p:cNvSpPr>
            <p:nvPr/>
          </p:nvSpPr>
          <p:spPr bwMode="auto">
            <a:xfrm>
              <a:off x="5547674" y="2195293"/>
              <a:ext cx="398726" cy="396562"/>
            </a:xfrm>
            <a:custGeom>
              <a:avLst/>
              <a:gdLst/>
              <a:ahLst/>
              <a:cxnLst>
                <a:cxn ang="0">
                  <a:pos x="24" y="31"/>
                </a:cxn>
                <a:cxn ang="0">
                  <a:pos x="4" y="11"/>
                </a:cxn>
                <a:cxn ang="0">
                  <a:pos x="4" y="8"/>
                </a:cxn>
                <a:cxn ang="0">
                  <a:pos x="6" y="8"/>
                </a:cxn>
                <a:cxn ang="0">
                  <a:pos x="26" y="28"/>
                </a:cxn>
                <a:cxn ang="0">
                  <a:pos x="28" y="27"/>
                </a:cxn>
                <a:cxn ang="0">
                  <a:pos x="8" y="7"/>
                </a:cxn>
                <a:cxn ang="0">
                  <a:pos x="8" y="4"/>
                </a:cxn>
                <a:cxn ang="0">
                  <a:pos x="10" y="4"/>
                </a:cxn>
                <a:cxn ang="0">
                  <a:pos x="31" y="24"/>
                </a:cxn>
                <a:cxn ang="0">
                  <a:pos x="33" y="22"/>
                </a:cxn>
                <a:cxn ang="0">
                  <a:pos x="14" y="3"/>
                </a:cxn>
                <a:cxn ang="0">
                  <a:pos x="4" y="4"/>
                </a:cxn>
                <a:cxn ang="0">
                  <a:pos x="3" y="13"/>
                </a:cxn>
                <a:cxn ang="0">
                  <a:pos x="22" y="33"/>
                </a:cxn>
                <a:cxn ang="0">
                  <a:pos x="24" y="31"/>
                </a:cxn>
                <a:cxn ang="0">
                  <a:pos x="71" y="67"/>
                </a:cxn>
                <a:cxn ang="0">
                  <a:pos x="65" y="59"/>
                </a:cxn>
                <a:cxn ang="0">
                  <a:pos x="63" y="59"/>
                </a:cxn>
                <a:cxn ang="0">
                  <a:pos x="63" y="59"/>
                </a:cxn>
                <a:cxn ang="0">
                  <a:pos x="46" y="42"/>
                </a:cxn>
                <a:cxn ang="0">
                  <a:pos x="42" y="46"/>
                </a:cxn>
                <a:cxn ang="0">
                  <a:pos x="59" y="63"/>
                </a:cxn>
                <a:cxn ang="0">
                  <a:pos x="60" y="63"/>
                </a:cxn>
                <a:cxn ang="0">
                  <a:pos x="59" y="65"/>
                </a:cxn>
                <a:cxn ang="0">
                  <a:pos x="67" y="70"/>
                </a:cxn>
                <a:cxn ang="0">
                  <a:pos x="69" y="69"/>
                </a:cxn>
                <a:cxn ang="0">
                  <a:pos x="71" y="67"/>
                </a:cxn>
                <a:cxn ang="0">
                  <a:pos x="51" y="34"/>
                </a:cxn>
                <a:cxn ang="0">
                  <a:pos x="64" y="30"/>
                </a:cxn>
                <a:cxn ang="0">
                  <a:pos x="66" y="11"/>
                </a:cxn>
                <a:cxn ang="0">
                  <a:pos x="55" y="22"/>
                </a:cxn>
                <a:cxn ang="0">
                  <a:pos x="50" y="17"/>
                </a:cxn>
                <a:cxn ang="0">
                  <a:pos x="61" y="6"/>
                </a:cxn>
                <a:cxn ang="0">
                  <a:pos x="42" y="8"/>
                </a:cxn>
                <a:cxn ang="0">
                  <a:pos x="38" y="21"/>
                </a:cxn>
                <a:cxn ang="0">
                  <a:pos x="36" y="22"/>
                </a:cxn>
                <a:cxn ang="0">
                  <a:pos x="6" y="52"/>
                </a:cxn>
                <a:cxn ang="0">
                  <a:pos x="6" y="65"/>
                </a:cxn>
                <a:cxn ang="0">
                  <a:pos x="20" y="65"/>
                </a:cxn>
                <a:cxn ang="0">
                  <a:pos x="49" y="36"/>
                </a:cxn>
                <a:cxn ang="0">
                  <a:pos x="51" y="34"/>
                </a:cxn>
                <a:cxn ang="0">
                  <a:pos x="16" y="60"/>
                </a:cxn>
                <a:cxn ang="0">
                  <a:pos x="12" y="60"/>
                </a:cxn>
                <a:cxn ang="0">
                  <a:pos x="12" y="55"/>
                </a:cxn>
                <a:cxn ang="0">
                  <a:pos x="16" y="55"/>
                </a:cxn>
                <a:cxn ang="0">
                  <a:pos x="16" y="60"/>
                </a:cxn>
              </a:cxnLst>
              <a:rect l="0" t="0" r="r" b="b"/>
              <a:pathLst>
                <a:path w="71" h="71">
                  <a:moveTo>
                    <a:pt x="24" y="31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3" y="10"/>
                    <a:pt x="3" y="9"/>
                    <a:pt x="4" y="8"/>
                  </a:cubicBezTo>
                  <a:cubicBezTo>
                    <a:pt x="4" y="7"/>
                    <a:pt x="6" y="7"/>
                    <a:pt x="6" y="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6"/>
                    <a:pt x="7" y="5"/>
                    <a:pt x="8" y="4"/>
                  </a:cubicBezTo>
                  <a:cubicBezTo>
                    <a:pt x="9" y="3"/>
                    <a:pt x="10" y="3"/>
                    <a:pt x="10" y="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1" y="0"/>
                    <a:pt x="7" y="1"/>
                    <a:pt x="4" y="4"/>
                  </a:cubicBezTo>
                  <a:cubicBezTo>
                    <a:pt x="1" y="7"/>
                    <a:pt x="0" y="11"/>
                    <a:pt x="3" y="13"/>
                  </a:cubicBezTo>
                  <a:cubicBezTo>
                    <a:pt x="22" y="33"/>
                    <a:pt x="22" y="33"/>
                    <a:pt x="22" y="33"/>
                  </a:cubicBezTo>
                  <a:lnTo>
                    <a:pt x="24" y="31"/>
                  </a:lnTo>
                  <a:close/>
                  <a:moveTo>
                    <a:pt x="71" y="67"/>
                  </a:moveTo>
                  <a:cubicBezTo>
                    <a:pt x="65" y="59"/>
                    <a:pt x="65" y="59"/>
                    <a:pt x="65" y="59"/>
                  </a:cubicBezTo>
                  <a:cubicBezTo>
                    <a:pt x="65" y="58"/>
                    <a:pt x="64" y="59"/>
                    <a:pt x="63" y="5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59" y="63"/>
                    <a:pt x="59" y="63"/>
                    <a:pt x="60" y="63"/>
                  </a:cubicBezTo>
                  <a:cubicBezTo>
                    <a:pt x="59" y="64"/>
                    <a:pt x="59" y="65"/>
                    <a:pt x="59" y="65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8" y="71"/>
                    <a:pt x="69" y="70"/>
                    <a:pt x="69" y="69"/>
                  </a:cubicBezTo>
                  <a:cubicBezTo>
                    <a:pt x="70" y="68"/>
                    <a:pt x="71" y="67"/>
                    <a:pt x="71" y="67"/>
                  </a:cubicBezTo>
                  <a:close/>
                  <a:moveTo>
                    <a:pt x="51" y="34"/>
                  </a:moveTo>
                  <a:cubicBezTo>
                    <a:pt x="55" y="35"/>
                    <a:pt x="60" y="33"/>
                    <a:pt x="64" y="30"/>
                  </a:cubicBezTo>
                  <a:cubicBezTo>
                    <a:pt x="69" y="25"/>
                    <a:pt x="70" y="17"/>
                    <a:pt x="66" y="11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55" y="2"/>
                    <a:pt x="47" y="3"/>
                    <a:pt x="42" y="8"/>
                  </a:cubicBezTo>
                  <a:cubicBezTo>
                    <a:pt x="39" y="11"/>
                    <a:pt x="37" y="16"/>
                    <a:pt x="38" y="21"/>
                  </a:cubicBezTo>
                  <a:cubicBezTo>
                    <a:pt x="37" y="21"/>
                    <a:pt x="36" y="22"/>
                    <a:pt x="36" y="2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3" y="55"/>
                    <a:pt x="3" y="62"/>
                    <a:pt x="6" y="65"/>
                  </a:cubicBezTo>
                  <a:cubicBezTo>
                    <a:pt x="10" y="69"/>
                    <a:pt x="16" y="69"/>
                    <a:pt x="20" y="6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0" y="35"/>
                    <a:pt x="51" y="35"/>
                    <a:pt x="51" y="34"/>
                  </a:cubicBezTo>
                  <a:close/>
                  <a:moveTo>
                    <a:pt x="16" y="60"/>
                  </a:moveTo>
                  <a:cubicBezTo>
                    <a:pt x="15" y="61"/>
                    <a:pt x="13" y="61"/>
                    <a:pt x="12" y="60"/>
                  </a:cubicBezTo>
                  <a:cubicBezTo>
                    <a:pt x="11" y="59"/>
                    <a:pt x="11" y="57"/>
                    <a:pt x="12" y="55"/>
                  </a:cubicBezTo>
                  <a:cubicBezTo>
                    <a:pt x="13" y="54"/>
                    <a:pt x="15" y="54"/>
                    <a:pt x="16" y="55"/>
                  </a:cubicBezTo>
                  <a:cubicBezTo>
                    <a:pt x="18" y="57"/>
                    <a:pt x="18" y="59"/>
                    <a:pt x="16" y="6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id-ID" sz="1662"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graphicFrame>
        <p:nvGraphicFramePr>
          <p:cNvPr id="115" name="Diagramma 114"/>
          <p:cNvGraphicFramePr/>
          <p:nvPr>
            <p:extLst>
              <p:ext uri="{D42A27DB-BD31-4B8C-83A1-F6EECF244321}">
                <p14:modId xmlns:p14="http://schemas.microsoft.com/office/powerpoint/2010/main" val="250889995"/>
              </p:ext>
            </p:extLst>
          </p:nvPr>
        </p:nvGraphicFramePr>
        <p:xfrm>
          <a:off x="101101" y="3500733"/>
          <a:ext cx="2324358" cy="659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16" name="Diagramma 115"/>
          <p:cNvGraphicFramePr/>
          <p:nvPr>
            <p:extLst/>
          </p:nvPr>
        </p:nvGraphicFramePr>
        <p:xfrm>
          <a:off x="3109684" y="2459688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17" name="Diagramma 116"/>
          <p:cNvGraphicFramePr/>
          <p:nvPr>
            <p:extLst/>
          </p:nvPr>
        </p:nvGraphicFramePr>
        <p:xfrm>
          <a:off x="3109684" y="3113603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graphicFrame>
        <p:nvGraphicFramePr>
          <p:cNvPr id="118" name="Diagramma 117"/>
          <p:cNvGraphicFramePr/>
          <p:nvPr>
            <p:extLst/>
          </p:nvPr>
        </p:nvGraphicFramePr>
        <p:xfrm>
          <a:off x="6241059" y="1864299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119" name="Diagramma 118"/>
          <p:cNvGraphicFramePr/>
          <p:nvPr>
            <p:extLst/>
          </p:nvPr>
        </p:nvGraphicFramePr>
        <p:xfrm>
          <a:off x="6249347" y="2498436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120" name="Diagramma 119"/>
          <p:cNvGraphicFramePr/>
          <p:nvPr>
            <p:extLst>
              <p:ext uri="{D42A27DB-BD31-4B8C-83A1-F6EECF244321}">
                <p14:modId xmlns:p14="http://schemas.microsoft.com/office/powerpoint/2010/main" val="2284526433"/>
              </p:ext>
            </p:extLst>
          </p:nvPr>
        </p:nvGraphicFramePr>
        <p:xfrm>
          <a:off x="8182" y="4190712"/>
          <a:ext cx="270268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  <p:graphicFrame>
        <p:nvGraphicFramePr>
          <p:cNvPr id="121" name="Diagramma 120"/>
          <p:cNvGraphicFramePr/>
          <p:nvPr>
            <p:extLst>
              <p:ext uri="{D42A27DB-BD31-4B8C-83A1-F6EECF244321}">
                <p14:modId xmlns:p14="http://schemas.microsoft.com/office/powerpoint/2010/main" val="2396893450"/>
              </p:ext>
            </p:extLst>
          </p:nvPr>
        </p:nvGraphicFramePr>
        <p:xfrm>
          <a:off x="6249347" y="3229594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2" r:lo="rId43" r:qs="rId44" r:cs="rId45"/>
          </a:graphicData>
        </a:graphic>
      </p:graphicFrame>
      <p:graphicFrame>
        <p:nvGraphicFramePr>
          <p:cNvPr id="122" name="Diagramma 121"/>
          <p:cNvGraphicFramePr/>
          <p:nvPr>
            <p:extLst/>
          </p:nvPr>
        </p:nvGraphicFramePr>
        <p:xfrm>
          <a:off x="3109684" y="3827814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7" r:lo="rId48" r:qs="rId49" r:cs="rId50"/>
          </a:graphicData>
        </a:graphic>
      </p:graphicFrame>
      <p:graphicFrame>
        <p:nvGraphicFramePr>
          <p:cNvPr id="123" name="Diagramma 122"/>
          <p:cNvGraphicFramePr/>
          <p:nvPr>
            <p:extLst/>
          </p:nvPr>
        </p:nvGraphicFramePr>
        <p:xfrm>
          <a:off x="3109684" y="4492503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2" r:lo="rId53" r:qs="rId54" r:cs="rId55"/>
          </a:graphicData>
        </a:graphic>
      </p:graphicFrame>
      <p:graphicFrame>
        <p:nvGraphicFramePr>
          <p:cNvPr id="124" name="Diagramma 123"/>
          <p:cNvGraphicFramePr/>
          <p:nvPr>
            <p:extLst/>
          </p:nvPr>
        </p:nvGraphicFramePr>
        <p:xfrm>
          <a:off x="6249347" y="4027221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7" r:lo="rId58" r:qs="rId59" r:cs="rId60"/>
          </a:graphicData>
        </a:graphic>
      </p:graphicFrame>
      <p:graphicFrame>
        <p:nvGraphicFramePr>
          <p:cNvPr id="125" name="Diagramma 124"/>
          <p:cNvGraphicFramePr/>
          <p:nvPr>
            <p:extLst/>
          </p:nvPr>
        </p:nvGraphicFramePr>
        <p:xfrm>
          <a:off x="67088" y="1997237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2" r:lo="rId63" r:qs="rId64" r:cs="rId65"/>
          </a:graphicData>
        </a:graphic>
      </p:graphicFrame>
      <p:graphicFrame>
        <p:nvGraphicFramePr>
          <p:cNvPr id="126" name="Diagramma 125"/>
          <p:cNvGraphicFramePr/>
          <p:nvPr>
            <p:extLst/>
          </p:nvPr>
        </p:nvGraphicFramePr>
        <p:xfrm>
          <a:off x="8182" y="4988339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7" r:lo="rId68" r:qs="rId69" r:cs="rId70"/>
          </a:graphicData>
        </a:graphic>
      </p:graphicFrame>
      <p:graphicFrame>
        <p:nvGraphicFramePr>
          <p:cNvPr id="127" name="Diagramma 126"/>
          <p:cNvGraphicFramePr/>
          <p:nvPr>
            <p:extLst/>
          </p:nvPr>
        </p:nvGraphicFramePr>
        <p:xfrm>
          <a:off x="3109684" y="5024255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2" r:lo="rId73" r:qs="rId74" r:cs="rId75"/>
          </a:graphicData>
        </a:graphic>
      </p:graphicFrame>
      <p:graphicFrame>
        <p:nvGraphicFramePr>
          <p:cNvPr id="128" name="Diagramma 127"/>
          <p:cNvGraphicFramePr/>
          <p:nvPr>
            <p:extLst/>
          </p:nvPr>
        </p:nvGraphicFramePr>
        <p:xfrm>
          <a:off x="6233723" y="4691910"/>
          <a:ext cx="259228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7" r:lo="rId78" r:qs="rId79" r:cs="rId80"/>
          </a:graphicData>
        </a:graphic>
      </p:graphicFrame>
      <p:graphicFrame>
        <p:nvGraphicFramePr>
          <p:cNvPr id="129" name="Diagramma 128"/>
          <p:cNvGraphicFramePr/>
          <p:nvPr>
            <p:extLst/>
          </p:nvPr>
        </p:nvGraphicFramePr>
        <p:xfrm>
          <a:off x="6233723" y="5423068"/>
          <a:ext cx="259228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2" r:lo="rId83" r:qs="rId84" r:cs="rId85"/>
          </a:graphicData>
        </a:graphic>
      </p:graphicFrame>
      <p:sp>
        <p:nvSpPr>
          <p:cNvPr id="28" name="Rettangolo 27"/>
          <p:cNvSpPr/>
          <p:nvPr/>
        </p:nvSpPr>
        <p:spPr>
          <a:xfrm>
            <a:off x="0" y="812431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4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35085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a 9"/>
          <p:cNvGraphicFramePr/>
          <p:nvPr>
            <p:extLst>
              <p:ext uri="{D42A27DB-BD31-4B8C-83A1-F6EECF244321}">
                <p14:modId xmlns:p14="http://schemas.microsoft.com/office/powerpoint/2010/main" val="2270780091"/>
              </p:ext>
            </p:extLst>
          </p:nvPr>
        </p:nvGraphicFramePr>
        <p:xfrm>
          <a:off x="2898153" y="1340768"/>
          <a:ext cx="4053175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2204864"/>
            <a:ext cx="3517900" cy="1173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tangolo 118"/>
          <p:cNvSpPr>
            <a:spLocks noChangeArrowheads="1"/>
          </p:cNvSpPr>
          <p:nvPr/>
        </p:nvSpPr>
        <p:spPr bwMode="auto">
          <a:xfrm>
            <a:off x="2694548" y="3933056"/>
            <a:ext cx="4469740" cy="2088232"/>
          </a:xfrm>
          <a:prstGeom prst="round2Same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Dei 12 ambiti tematici individuati dai tavoli nazionali (economia del mare, mobilità sostenibile, scienze della vita, beni culturali, chimica verde, </a:t>
            </a:r>
            <a:r>
              <a:rPr kumimoji="0" lang="it-IT" altLang="it-IT" sz="1400" b="1" u="none" strike="noStrike" cap="none" normalizeH="0" baseline="0" dirty="0" err="1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smart</a:t>
            </a: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 cities and </a:t>
            </a:r>
            <a:r>
              <a:rPr kumimoji="0" lang="it-IT" altLang="it-IT" sz="1400" b="1" u="none" strike="noStrike" cap="none" normalizeH="0" baseline="0" dirty="0" err="1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communities</a:t>
            </a: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, tecnologie per gli ambienti di vita, </a:t>
            </a:r>
            <a:r>
              <a:rPr kumimoji="0" lang="it-IT" altLang="it-IT" sz="1400" b="1" u="none" strike="noStrike" cap="none" normalizeH="0" baseline="0" dirty="0" err="1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agrifood</a:t>
            </a: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, energia, innovazione non basata su ricerca e sviluppo, fabbrica intelligente e aerospazio) sono stati ricondotti all’interno del tavolo </a:t>
            </a: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cs typeface="Arial" pitchFamily="34" charset="0"/>
              </a:rPr>
              <a:t>denominato “Scienze della Vita”, l’ ambito: Scienze della Vita. </a:t>
            </a:r>
          </a:p>
        </p:txBody>
      </p:sp>
    </p:spTree>
    <p:extLst>
      <p:ext uri="{BB962C8B-B14F-4D97-AF65-F5344CB8AC3E}">
        <p14:creationId xmlns:p14="http://schemas.microsoft.com/office/powerpoint/2010/main" val="380057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3163694039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ma 7"/>
          <p:cNvGraphicFramePr/>
          <p:nvPr>
            <p:extLst>
              <p:ext uri="{D42A27DB-BD31-4B8C-83A1-F6EECF244321}">
                <p14:modId xmlns:p14="http://schemas.microsoft.com/office/powerpoint/2010/main" val="2479431652"/>
              </p:ext>
            </p:extLst>
          </p:nvPr>
        </p:nvGraphicFramePr>
        <p:xfrm>
          <a:off x="107504" y="1916832"/>
          <a:ext cx="5832648" cy="3096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Rettangolo 10"/>
          <p:cNvSpPr/>
          <p:nvPr/>
        </p:nvSpPr>
        <p:spPr>
          <a:xfrm>
            <a:off x="4672017" y="6165304"/>
            <a:ext cx="3213700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2000" b="1" cap="none" spc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Aggiornato al 7 maggio 2014</a:t>
            </a:r>
            <a:endParaRPr lang="it-IT" sz="2000" b="1" cap="none" spc="0" dirty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974493"/>
              </p:ext>
            </p:extLst>
          </p:nvPr>
        </p:nvGraphicFramePr>
        <p:xfrm>
          <a:off x="5580112" y="3117304"/>
          <a:ext cx="3327400" cy="3048000"/>
        </p:xfrm>
        <a:graphic>
          <a:graphicData uri="http://schemas.openxmlformats.org/drawingml/2006/table">
            <a:tbl>
              <a:tblPr/>
              <a:tblGrid>
                <a:gridCol w="2233798"/>
                <a:gridCol w="616693"/>
                <a:gridCol w="476909"/>
              </a:tblGrid>
              <a:tr h="198120">
                <a:tc>
                  <a:txBody>
                    <a:bodyPr/>
                    <a:lstStyle/>
                    <a:p>
                      <a:pPr algn="l" fontAlgn="b"/>
                      <a:endParaRPr lang="it-IT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RTECIPANTI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19812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IPOLOGI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NR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RES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VERSITA'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15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NTRO RICERC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N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RUTTURA SANITARI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E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SSOCIAZIONE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TRETTO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PERTO BREVETTI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CUBATORE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ARCO SCIENTIFICO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11430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9126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1575031513"/>
              </p:ext>
            </p:extLst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a 8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0" name="Diagramma 9"/>
          <p:cNvGraphicFramePr/>
          <p:nvPr>
            <p:extLst>
              <p:ext uri="{D42A27DB-BD31-4B8C-83A1-F6EECF244321}">
                <p14:modId xmlns:p14="http://schemas.microsoft.com/office/powerpoint/2010/main" val="1485060262"/>
              </p:ext>
            </p:extLst>
          </p:nvPr>
        </p:nvGraphicFramePr>
        <p:xfrm>
          <a:off x="2627784" y="1556792"/>
          <a:ext cx="4104456" cy="576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3" name="Diagramma 2"/>
          <p:cNvGraphicFramePr/>
          <p:nvPr>
            <p:extLst>
              <p:ext uri="{D42A27DB-BD31-4B8C-83A1-F6EECF244321}">
                <p14:modId xmlns:p14="http://schemas.microsoft.com/office/powerpoint/2010/main" val="3358792962"/>
              </p:ext>
            </p:extLst>
          </p:nvPr>
        </p:nvGraphicFramePr>
        <p:xfrm>
          <a:off x="827584" y="2420888"/>
          <a:ext cx="7776864" cy="2862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pSp>
        <p:nvGrpSpPr>
          <p:cNvPr id="11" name="Gruppo 10"/>
          <p:cNvGrpSpPr/>
          <p:nvPr/>
        </p:nvGrpSpPr>
        <p:grpSpPr>
          <a:xfrm>
            <a:off x="2699792" y="5530525"/>
            <a:ext cx="4320480" cy="693492"/>
            <a:chOff x="0" y="1449880"/>
            <a:chExt cx="4572000" cy="1125540"/>
          </a:xfrm>
        </p:grpSpPr>
        <p:sp>
          <p:nvSpPr>
            <p:cNvPr id="12" name="Rettangolo arrotondato 11"/>
            <p:cNvSpPr/>
            <p:nvPr/>
          </p:nvSpPr>
          <p:spPr>
            <a:xfrm>
              <a:off x="0" y="1449880"/>
              <a:ext cx="4572000" cy="112554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alpha val="90000"/>
                <a:hueOff val="0"/>
                <a:satOff val="0"/>
                <a:lumOff val="0"/>
                <a:alphaOff val="-40000"/>
              </a:schemeClr>
            </a:fillRef>
            <a:effectRef idx="0">
              <a:schemeClr val="accent5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13" name="Rettangolo 12"/>
            <p:cNvSpPr/>
            <p:nvPr/>
          </p:nvSpPr>
          <p:spPr>
            <a:xfrm>
              <a:off x="54944" y="1504824"/>
              <a:ext cx="4462112" cy="101565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9530" tIns="49530" rIns="49530" bIns="49530" numCol="1" spcCol="1270" anchor="ctr" anchorCtr="0">
              <a:noAutofit/>
            </a:bodyPr>
            <a:lstStyle/>
            <a:p>
              <a:pPr lvl="0" algn="just" defTabSz="5778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300" b="1" kern="1200" dirty="0" smtClean="0">
                  <a:solidFill>
                    <a:schemeClr val="tx2">
                      <a:lumMod val="75000"/>
                    </a:schemeClr>
                  </a:solidFill>
                </a:rPr>
                <a:t>Dati di sintesi del settore biotech, suddivise per regione (fonte: elaborazioni Rapporto Biotech Ernst&amp;Young)</a:t>
              </a:r>
              <a:endParaRPr lang="it-IT" sz="1300" b="1" kern="1200" dirty="0">
                <a:solidFill>
                  <a:schemeClr val="tx2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3350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1089388874"/>
              </p:ext>
            </p:extLst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a 8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0" name="Diagramma 9"/>
          <p:cNvGraphicFramePr/>
          <p:nvPr>
            <p:extLst>
              <p:ext uri="{D42A27DB-BD31-4B8C-83A1-F6EECF244321}">
                <p14:modId xmlns:p14="http://schemas.microsoft.com/office/powerpoint/2010/main" val="2204218962"/>
              </p:ext>
            </p:extLst>
          </p:nvPr>
        </p:nvGraphicFramePr>
        <p:xfrm>
          <a:off x="1619672" y="1556792"/>
          <a:ext cx="6696744" cy="792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4" name="Diagramma 13"/>
          <p:cNvGraphicFramePr/>
          <p:nvPr>
            <p:extLst>
              <p:ext uri="{D42A27DB-BD31-4B8C-83A1-F6EECF244321}">
                <p14:modId xmlns:p14="http://schemas.microsoft.com/office/powerpoint/2010/main" val="851469912"/>
              </p:ext>
            </p:extLst>
          </p:nvPr>
        </p:nvGraphicFramePr>
        <p:xfrm>
          <a:off x="683568" y="2420888"/>
          <a:ext cx="7848872" cy="3816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sp>
        <p:nvSpPr>
          <p:cNvPr id="15" name="Freccia in su 14"/>
          <p:cNvSpPr/>
          <p:nvPr/>
        </p:nvSpPr>
        <p:spPr>
          <a:xfrm>
            <a:off x="544247" y="2486325"/>
            <a:ext cx="576064" cy="3672408"/>
          </a:xfrm>
          <a:prstGeom prst="upArrow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6" name="CasellaDiTesto 15"/>
          <p:cNvSpPr txBox="1"/>
          <p:nvPr/>
        </p:nvSpPr>
        <p:spPr>
          <a:xfrm>
            <a:off x="323528" y="2852936"/>
            <a:ext cx="430887" cy="3305797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it-IT" sz="1600" b="1" spc="300" dirty="0" smtClean="0">
                <a:solidFill>
                  <a:schemeClr val="tx2"/>
                </a:solidFill>
              </a:rPr>
              <a:t>Punti di forza</a:t>
            </a:r>
            <a:endParaRPr lang="it-IT" sz="1600" b="1" spc="3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829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354516819"/>
              </p:ext>
            </p:extLst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a 8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6" name="Gruppo 15"/>
          <p:cNvGrpSpPr/>
          <p:nvPr/>
        </p:nvGrpSpPr>
        <p:grpSpPr>
          <a:xfrm>
            <a:off x="179512" y="1514910"/>
            <a:ext cx="8352928" cy="4218346"/>
            <a:chOff x="252099" y="2492896"/>
            <a:chExt cx="7668273" cy="3950767"/>
          </a:xfrm>
        </p:grpSpPr>
        <p:graphicFrame>
          <p:nvGraphicFramePr>
            <p:cNvPr id="10" name="Diagramma 9"/>
            <p:cNvGraphicFramePr/>
            <p:nvPr>
              <p:extLst>
                <p:ext uri="{D42A27DB-BD31-4B8C-83A1-F6EECF244321}">
                  <p14:modId xmlns:p14="http://schemas.microsoft.com/office/powerpoint/2010/main" val="1969158873"/>
                </p:ext>
              </p:extLst>
            </p:nvPr>
          </p:nvGraphicFramePr>
          <p:xfrm>
            <a:off x="1187624" y="2492896"/>
            <a:ext cx="6678156" cy="144016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  <p:sp>
          <p:nvSpPr>
            <p:cNvPr id="15" name="Freccia in su 14"/>
            <p:cNvSpPr/>
            <p:nvPr/>
          </p:nvSpPr>
          <p:spPr>
            <a:xfrm rot="10800000">
              <a:off x="467544" y="2492896"/>
              <a:ext cx="576064" cy="3672408"/>
            </a:xfrm>
            <a:prstGeom prst="up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" name="CasellaDiTesto 6"/>
            <p:cNvSpPr txBox="1"/>
            <p:nvPr/>
          </p:nvSpPr>
          <p:spPr>
            <a:xfrm>
              <a:off x="252099" y="2676201"/>
              <a:ext cx="430887" cy="3305797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/>
              <a:r>
                <a:rPr lang="it-IT" sz="1600" b="1" spc="300" dirty="0" smtClean="0">
                  <a:solidFill>
                    <a:schemeClr val="tx2"/>
                  </a:solidFill>
                </a:rPr>
                <a:t>Vincoli allo sviluppo</a:t>
              </a:r>
              <a:endParaRPr lang="it-IT" sz="1600" b="1" spc="300" dirty="0">
                <a:solidFill>
                  <a:schemeClr val="tx2"/>
                </a:solidFill>
              </a:endParaRPr>
            </a:p>
          </p:txBody>
        </p:sp>
        <p:grpSp>
          <p:nvGrpSpPr>
            <p:cNvPr id="11" name="Gruppo 10"/>
            <p:cNvGrpSpPr/>
            <p:nvPr/>
          </p:nvGrpSpPr>
          <p:grpSpPr>
            <a:xfrm>
              <a:off x="1223628" y="4274508"/>
              <a:ext cx="6696744" cy="1118315"/>
              <a:chOff x="0" y="1093"/>
              <a:chExt cx="6696744" cy="1118315"/>
            </a:xfrm>
          </p:grpSpPr>
          <p:sp>
            <p:nvSpPr>
              <p:cNvPr id="12" name="Rettangolo arrotondato 11"/>
              <p:cNvSpPr/>
              <p:nvPr/>
            </p:nvSpPr>
            <p:spPr>
              <a:xfrm>
                <a:off x="0" y="1093"/>
                <a:ext cx="6696744" cy="1118315"/>
              </a:xfrm>
              <a:prstGeom prst="roundRect">
                <a:avLst/>
              </a:prstGeom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3" name="Rettangolo 12"/>
              <p:cNvSpPr/>
              <p:nvPr/>
            </p:nvSpPr>
            <p:spPr>
              <a:xfrm>
                <a:off x="54591" y="55685"/>
                <a:ext cx="6587561" cy="1009131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0960" tIns="60960" rIns="60960" bIns="60960" numCol="1" spcCol="1270" anchor="ctr" anchorCtr="0">
                <a:noAutofit/>
              </a:bodyPr>
              <a:lstStyle/>
              <a:p>
                <a:pPr lvl="0" algn="just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it-IT" sz="1600" b="1" dirty="0" smtClean="0"/>
                  <a:t>Il </a:t>
                </a:r>
                <a:r>
                  <a:rPr lang="it-IT" sz="1600" b="1" dirty="0"/>
                  <a:t>tessuto produttivo </a:t>
                </a:r>
                <a:r>
                  <a:rPr lang="it-IT" sz="1600" b="1" dirty="0" smtClean="0"/>
                  <a:t>risulta inadeguato -rispetto </a:t>
                </a:r>
                <a:r>
                  <a:rPr lang="it-IT" sz="1600" b="1" dirty="0"/>
                  <a:t>alle sfide imposte dai mercati più </a:t>
                </a:r>
                <a:r>
                  <a:rPr lang="it-IT" sz="1600" b="1" dirty="0" smtClean="0"/>
                  <a:t>ampi- ad  attirare nuovi </a:t>
                </a:r>
                <a:r>
                  <a:rPr lang="it-IT" sz="1600" b="1" dirty="0"/>
                  <a:t>operatori </a:t>
                </a:r>
                <a:r>
                  <a:rPr lang="it-IT" sz="1600" b="1" dirty="0" smtClean="0"/>
                  <a:t>e ad attirare </a:t>
                </a:r>
                <a:r>
                  <a:rPr lang="it-IT" sz="1600" b="1" dirty="0"/>
                  <a:t>investimenti dal resto dell'Italia o dagli stati esteri.</a:t>
                </a:r>
              </a:p>
            </p:txBody>
          </p:sp>
        </p:grpSp>
        <p:graphicFrame>
          <p:nvGraphicFramePr>
            <p:cNvPr id="8" name="Diagramma 7"/>
            <p:cNvGraphicFramePr/>
            <p:nvPr>
              <p:extLst>
                <p:ext uri="{D42A27DB-BD31-4B8C-83A1-F6EECF244321}">
                  <p14:modId xmlns:p14="http://schemas.microsoft.com/office/powerpoint/2010/main" val="1548963842"/>
                </p:ext>
              </p:extLst>
            </p:nvPr>
          </p:nvGraphicFramePr>
          <p:xfrm>
            <a:off x="1223628" y="5520333"/>
            <a:ext cx="6696744" cy="92333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7" r:lo="rId18" r:qs="rId19" r:cs="rId20"/>
            </a:graphicData>
          </a:graphic>
        </p:graphicFrame>
      </p:grpSp>
      <p:sp>
        <p:nvSpPr>
          <p:cNvPr id="5" name="Rettangolo 4"/>
          <p:cNvSpPr/>
          <p:nvPr/>
        </p:nvSpPr>
        <p:spPr>
          <a:xfrm>
            <a:off x="1308602" y="5733256"/>
            <a:ext cx="716437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100" b="1" dirty="0" smtClean="0"/>
              <a:t>FONTE: Un'analisi </a:t>
            </a:r>
            <a:r>
              <a:rPr lang="it-IT" sz="1100" b="1" dirty="0"/>
              <a:t>di Balconi et Al. (Università di Pavia, Brescia e Bocconi), a partire dal database </a:t>
            </a:r>
            <a:r>
              <a:rPr lang="it-IT" sz="1100" b="1" i="1" dirty="0"/>
              <a:t>dell'</a:t>
            </a:r>
            <a:r>
              <a:rPr lang="it-IT" sz="1100" b="1" i="1" dirty="0" err="1"/>
              <a:t>European</a:t>
            </a:r>
            <a:r>
              <a:rPr lang="it-IT" sz="1100" b="1" i="1" dirty="0"/>
              <a:t> </a:t>
            </a:r>
            <a:r>
              <a:rPr lang="it-IT" sz="1100" b="1" i="1" dirty="0" err="1"/>
              <a:t>Patent</a:t>
            </a:r>
            <a:r>
              <a:rPr lang="it-IT" sz="1100" b="1" i="1" dirty="0"/>
              <a:t> Office</a:t>
            </a:r>
            <a:r>
              <a:rPr lang="it-IT" sz="1100" b="1" dirty="0"/>
              <a:t> per il periodo 1979-1999 dimostra che in questo periodo sono stati depositati nel settore biotecnologico 780 brevetti italiani, di cui solo 119 (8,4%) da parte di un totale di 16 docenti universitari-inventori italiani. </a:t>
            </a:r>
          </a:p>
        </p:txBody>
      </p:sp>
    </p:spTree>
    <p:extLst>
      <p:ext uri="{BB962C8B-B14F-4D97-AF65-F5344CB8AC3E}">
        <p14:creationId xmlns:p14="http://schemas.microsoft.com/office/powerpoint/2010/main" val="2956934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3074184256"/>
              </p:ext>
            </p:extLst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ma 8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4" name="Diagramma 3"/>
          <p:cNvGraphicFramePr/>
          <p:nvPr>
            <p:extLst>
              <p:ext uri="{D42A27DB-BD31-4B8C-83A1-F6EECF244321}">
                <p14:modId xmlns:p14="http://schemas.microsoft.com/office/powerpoint/2010/main" val="1040098822"/>
              </p:ext>
            </p:extLst>
          </p:nvPr>
        </p:nvGraphicFramePr>
        <p:xfrm>
          <a:off x="467544" y="1844824"/>
          <a:ext cx="8208912" cy="3923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242631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a 4"/>
          <p:cNvGraphicFramePr/>
          <p:nvPr>
            <p:extLst>
              <p:ext uri="{D42A27DB-BD31-4B8C-83A1-F6EECF244321}">
                <p14:modId xmlns:p14="http://schemas.microsoft.com/office/powerpoint/2010/main" val="4148425025"/>
              </p:ext>
            </p:extLst>
          </p:nvPr>
        </p:nvGraphicFramePr>
        <p:xfrm>
          <a:off x="611560" y="2276872"/>
          <a:ext cx="8136904" cy="3672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6" name="Gruppo 5"/>
          <p:cNvGrpSpPr/>
          <p:nvPr/>
        </p:nvGrpSpPr>
        <p:grpSpPr>
          <a:xfrm>
            <a:off x="107504" y="692696"/>
            <a:ext cx="8856984" cy="720080"/>
            <a:chOff x="107504" y="692696"/>
            <a:chExt cx="8856984" cy="720080"/>
          </a:xfrm>
        </p:grpSpPr>
        <p:graphicFrame>
          <p:nvGraphicFramePr>
            <p:cNvPr id="7" name="Diagramma 6"/>
            <p:cNvGraphicFramePr/>
            <p:nvPr>
              <p:extLst>
                <p:ext uri="{D42A27DB-BD31-4B8C-83A1-F6EECF244321}">
                  <p14:modId xmlns:p14="http://schemas.microsoft.com/office/powerpoint/2010/main" val="1667150950"/>
                </p:ext>
              </p:extLst>
            </p:nvPr>
          </p:nvGraphicFramePr>
          <p:xfrm>
            <a:off x="107504" y="692696"/>
            <a:ext cx="2520280" cy="72008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graphicFrame>
          <p:nvGraphicFramePr>
            <p:cNvPr id="8" name="Diagramma 7"/>
            <p:cNvGraphicFramePr/>
            <p:nvPr>
              <p:extLst>
                <p:ext uri="{D42A27DB-BD31-4B8C-83A1-F6EECF244321}">
                  <p14:modId xmlns:p14="http://schemas.microsoft.com/office/powerpoint/2010/main" val="3530719835"/>
                </p:ext>
              </p:extLst>
            </p:nvPr>
          </p:nvGraphicFramePr>
          <p:xfrm>
            <a:off x="6516216" y="692696"/>
            <a:ext cx="2448272" cy="72008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</p:grpSp>
      <p:sp>
        <p:nvSpPr>
          <p:cNvPr id="9" name="CasellaDiTesto 8"/>
          <p:cNvSpPr txBox="1"/>
          <p:nvPr/>
        </p:nvSpPr>
        <p:spPr>
          <a:xfrm>
            <a:off x="2915816" y="1556792"/>
            <a:ext cx="324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 smtClean="0"/>
              <a:t>IL CONTESTO SICILIANO</a:t>
            </a:r>
            <a:endParaRPr lang="it-IT" b="1" dirty="0"/>
          </a:p>
        </p:txBody>
      </p:sp>
    </p:spTree>
    <p:extLst>
      <p:ext uri="{BB962C8B-B14F-4D97-AF65-F5344CB8AC3E}">
        <p14:creationId xmlns:p14="http://schemas.microsoft.com/office/powerpoint/2010/main" val="250427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o 5"/>
          <p:cNvGrpSpPr/>
          <p:nvPr/>
        </p:nvGrpSpPr>
        <p:grpSpPr>
          <a:xfrm>
            <a:off x="107504" y="692696"/>
            <a:ext cx="8856984" cy="720080"/>
            <a:chOff x="107504" y="692696"/>
            <a:chExt cx="8856984" cy="720080"/>
          </a:xfrm>
        </p:grpSpPr>
        <p:graphicFrame>
          <p:nvGraphicFramePr>
            <p:cNvPr id="7" name="Diagramma 6"/>
            <p:cNvGraphicFramePr/>
            <p:nvPr>
              <p:extLst>
                <p:ext uri="{D42A27DB-BD31-4B8C-83A1-F6EECF244321}">
                  <p14:modId xmlns:p14="http://schemas.microsoft.com/office/powerpoint/2010/main" val="1337335638"/>
                </p:ext>
              </p:extLst>
            </p:nvPr>
          </p:nvGraphicFramePr>
          <p:xfrm>
            <a:off x="107504" y="692696"/>
            <a:ext cx="2520280" cy="72008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8" name="Diagramma 7"/>
            <p:cNvGraphicFramePr/>
            <p:nvPr>
              <p:extLst>
                <p:ext uri="{D42A27DB-BD31-4B8C-83A1-F6EECF244321}">
                  <p14:modId xmlns:p14="http://schemas.microsoft.com/office/powerpoint/2010/main" val="1859913485"/>
                </p:ext>
              </p:extLst>
            </p:nvPr>
          </p:nvGraphicFramePr>
          <p:xfrm>
            <a:off x="6516216" y="692696"/>
            <a:ext cx="2448272" cy="72008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3315010888"/>
              </p:ext>
            </p:extLst>
          </p:nvPr>
        </p:nvGraphicFramePr>
        <p:xfrm>
          <a:off x="1979712" y="1556792"/>
          <a:ext cx="5184576" cy="5760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4" name="Diagramma 3"/>
          <p:cNvGraphicFramePr/>
          <p:nvPr>
            <p:extLst>
              <p:ext uri="{D42A27DB-BD31-4B8C-83A1-F6EECF244321}">
                <p14:modId xmlns:p14="http://schemas.microsoft.com/office/powerpoint/2010/main" val="4251511109"/>
              </p:ext>
            </p:extLst>
          </p:nvPr>
        </p:nvGraphicFramePr>
        <p:xfrm>
          <a:off x="971600" y="2276872"/>
          <a:ext cx="7632848" cy="1152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4" name="Diagramma 13"/>
          <p:cNvGraphicFramePr/>
          <p:nvPr>
            <p:extLst>
              <p:ext uri="{D42A27DB-BD31-4B8C-83A1-F6EECF244321}">
                <p14:modId xmlns:p14="http://schemas.microsoft.com/office/powerpoint/2010/main" val="2561029071"/>
              </p:ext>
            </p:extLst>
          </p:nvPr>
        </p:nvGraphicFramePr>
        <p:xfrm>
          <a:off x="88752" y="3429000"/>
          <a:ext cx="2539032" cy="23042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16" name="Rettangolo 15"/>
          <p:cNvSpPr/>
          <p:nvPr/>
        </p:nvSpPr>
        <p:spPr>
          <a:xfrm>
            <a:off x="2411760" y="6319440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it-IT" sz="1050" b="1" dirty="0" smtClean="0">
                <a:solidFill>
                  <a:schemeClr val="tx2"/>
                </a:solidFill>
              </a:rPr>
              <a:t>FONTE: Vinci</a:t>
            </a:r>
            <a:r>
              <a:rPr lang="it-IT" sz="1050" b="1" dirty="0">
                <a:solidFill>
                  <a:schemeClr val="tx2"/>
                </a:solidFill>
              </a:rPr>
              <a:t>: Il sistema della ricerca in Sicilia: analisi e valutazione</a:t>
            </a:r>
          </a:p>
        </p:txBody>
      </p:sp>
      <p:graphicFrame>
        <p:nvGraphicFramePr>
          <p:cNvPr id="19" name="Diagramma 18"/>
          <p:cNvGraphicFramePr/>
          <p:nvPr>
            <p:extLst>
              <p:ext uri="{D42A27DB-BD31-4B8C-83A1-F6EECF244321}">
                <p14:modId xmlns:p14="http://schemas.microsoft.com/office/powerpoint/2010/main" val="316452856"/>
              </p:ext>
            </p:extLst>
          </p:nvPr>
        </p:nvGraphicFramePr>
        <p:xfrm>
          <a:off x="2987824" y="3429000"/>
          <a:ext cx="2592288" cy="2160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21" name="Diagramma 20"/>
          <p:cNvGraphicFramePr/>
          <p:nvPr>
            <p:extLst>
              <p:ext uri="{D42A27DB-BD31-4B8C-83A1-F6EECF244321}">
                <p14:modId xmlns:p14="http://schemas.microsoft.com/office/powerpoint/2010/main" val="2179021478"/>
              </p:ext>
            </p:extLst>
          </p:nvPr>
        </p:nvGraphicFramePr>
        <p:xfrm>
          <a:off x="5724128" y="3429000"/>
          <a:ext cx="3203848" cy="2160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</p:spTree>
    <p:extLst>
      <p:ext uri="{BB962C8B-B14F-4D97-AF65-F5344CB8AC3E}">
        <p14:creationId xmlns:p14="http://schemas.microsoft.com/office/powerpoint/2010/main" val="289110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o 5"/>
          <p:cNvGrpSpPr/>
          <p:nvPr/>
        </p:nvGrpSpPr>
        <p:grpSpPr>
          <a:xfrm>
            <a:off x="107504" y="692696"/>
            <a:ext cx="8856984" cy="720080"/>
            <a:chOff x="107504" y="692696"/>
            <a:chExt cx="8856984" cy="720080"/>
          </a:xfrm>
        </p:grpSpPr>
        <p:graphicFrame>
          <p:nvGraphicFramePr>
            <p:cNvPr id="7" name="Diagramma 6"/>
            <p:cNvGraphicFramePr/>
            <p:nvPr>
              <p:extLst>
                <p:ext uri="{D42A27DB-BD31-4B8C-83A1-F6EECF244321}">
                  <p14:modId xmlns:p14="http://schemas.microsoft.com/office/powerpoint/2010/main" val="3480904466"/>
                </p:ext>
              </p:extLst>
            </p:nvPr>
          </p:nvGraphicFramePr>
          <p:xfrm>
            <a:off x="107504" y="692696"/>
            <a:ext cx="2520280" cy="72008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8" name="Diagramma 7"/>
            <p:cNvGraphicFramePr/>
            <p:nvPr>
              <p:extLst>
                <p:ext uri="{D42A27DB-BD31-4B8C-83A1-F6EECF244321}">
                  <p14:modId xmlns:p14="http://schemas.microsoft.com/office/powerpoint/2010/main" val="2234392961"/>
                </p:ext>
              </p:extLst>
            </p:nvPr>
          </p:nvGraphicFramePr>
          <p:xfrm>
            <a:off x="6516216" y="692696"/>
            <a:ext cx="2448272" cy="72008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graphicFrame>
        <p:nvGraphicFramePr>
          <p:cNvPr id="5" name="Diagramma 4"/>
          <p:cNvGraphicFramePr/>
          <p:nvPr>
            <p:extLst>
              <p:ext uri="{D42A27DB-BD31-4B8C-83A1-F6EECF244321}">
                <p14:modId xmlns:p14="http://schemas.microsoft.com/office/powerpoint/2010/main" val="1006349460"/>
              </p:ext>
            </p:extLst>
          </p:nvPr>
        </p:nvGraphicFramePr>
        <p:xfrm>
          <a:off x="899592" y="2132856"/>
          <a:ext cx="7704856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9" name="CasellaDiTesto 8"/>
          <p:cNvSpPr txBox="1"/>
          <p:nvPr/>
        </p:nvSpPr>
        <p:spPr>
          <a:xfrm>
            <a:off x="2699792" y="1484784"/>
            <a:ext cx="4104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 smtClean="0"/>
              <a:t>FILIERA BIOMEDICA SICILIAN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8076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tangolo 27"/>
          <p:cNvSpPr/>
          <p:nvPr/>
        </p:nvSpPr>
        <p:spPr>
          <a:xfrm>
            <a:off x="0" y="812431"/>
            <a:ext cx="90364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3200" b="1" dirty="0">
                <a:solidFill>
                  <a:schemeClr val="accent1">
                    <a:lumMod val="75000"/>
                  </a:schemeClr>
                </a:solidFill>
              </a:rPr>
              <a:t>La condivisione del piano di lavoro per la raccolta dei </a:t>
            </a:r>
            <a:r>
              <a:rPr lang="it-IT" sz="3200" b="1" dirty="0" smtClean="0">
                <a:solidFill>
                  <a:schemeClr val="accent1">
                    <a:lumMod val="75000"/>
                  </a:schemeClr>
                </a:solidFill>
              </a:rPr>
              <a:t>contributi (1)  </a:t>
            </a:r>
            <a:r>
              <a:rPr lang="it-IT" sz="3200" dirty="0"/>
              <a:t/>
            </a:r>
            <a:br>
              <a:rPr lang="it-IT" sz="3200" dirty="0"/>
            </a:br>
            <a:endParaRPr lang="it-IT" sz="3200" dirty="0"/>
          </a:p>
        </p:txBody>
      </p: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2235330666"/>
              </p:ext>
            </p:extLst>
          </p:nvPr>
        </p:nvGraphicFramePr>
        <p:xfrm>
          <a:off x="94936" y="1589221"/>
          <a:ext cx="8928992" cy="4840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5562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tangolo 27"/>
          <p:cNvSpPr/>
          <p:nvPr/>
        </p:nvSpPr>
        <p:spPr>
          <a:xfrm>
            <a:off x="0" y="812431"/>
            <a:ext cx="90364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3200" b="1" dirty="0">
                <a:solidFill>
                  <a:srgbClr val="4F81BD">
                    <a:lumMod val="75000"/>
                  </a:srgbClr>
                </a:solidFill>
              </a:rPr>
              <a:t>La condivisione del piano di lavoro per la raccolta dei </a:t>
            </a:r>
            <a:r>
              <a:rPr lang="it-IT" sz="3200" b="1" dirty="0" smtClean="0">
                <a:solidFill>
                  <a:srgbClr val="4F81BD">
                    <a:lumMod val="75000"/>
                  </a:srgbClr>
                </a:solidFill>
              </a:rPr>
              <a:t>contributi (2)  </a:t>
            </a:r>
            <a:r>
              <a:rPr lang="it-IT" sz="3200" dirty="0">
                <a:solidFill>
                  <a:prstClr val="black"/>
                </a:solidFill>
              </a:rPr>
              <a:t/>
            </a:r>
            <a:br>
              <a:rPr lang="it-IT" sz="3200" dirty="0">
                <a:solidFill>
                  <a:prstClr val="black"/>
                </a:solidFill>
              </a:rPr>
            </a:br>
            <a:endParaRPr lang="it-IT" sz="3200" dirty="0">
              <a:solidFill>
                <a:prstClr val="black"/>
              </a:solidFill>
            </a:endParaRPr>
          </a:p>
        </p:txBody>
      </p:sp>
      <p:graphicFrame>
        <p:nvGraphicFramePr>
          <p:cNvPr id="2" name="Diagramma 1"/>
          <p:cNvGraphicFramePr/>
          <p:nvPr>
            <p:extLst/>
          </p:nvPr>
        </p:nvGraphicFramePr>
        <p:xfrm>
          <a:off x="90376" y="2132856"/>
          <a:ext cx="8928992" cy="41440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092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899592" y="1556792"/>
            <a:ext cx="7416824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000" dirty="0" smtClean="0">
                <a:solidFill>
                  <a:prstClr val="black"/>
                </a:solidFill>
                <a:hlinkClick r:id="rId2"/>
              </a:rPr>
              <a:t>www.innovatoripa.it</a:t>
            </a:r>
            <a:endParaRPr lang="it-IT" sz="4000" dirty="0" smtClean="0">
              <a:solidFill>
                <a:prstClr val="black"/>
              </a:solidFill>
            </a:endParaRPr>
          </a:p>
          <a:p>
            <a:pPr algn="ctr"/>
            <a:endParaRPr lang="it-IT" sz="3200" dirty="0" smtClean="0">
              <a:solidFill>
                <a:prstClr val="black"/>
              </a:solidFill>
            </a:endParaRPr>
          </a:p>
          <a:p>
            <a:pPr algn="ctr"/>
            <a:r>
              <a:rPr lang="it-IT" sz="3200" dirty="0" err="1" smtClean="0">
                <a:solidFill>
                  <a:prstClr val="black"/>
                </a:solidFill>
              </a:rPr>
              <a:t>Email</a:t>
            </a:r>
            <a:r>
              <a:rPr lang="it-IT" sz="3200" dirty="0" smtClean="0">
                <a:solidFill>
                  <a:prstClr val="black"/>
                </a:solidFill>
              </a:rPr>
              <a:t>:</a:t>
            </a:r>
          </a:p>
          <a:p>
            <a:pPr algn="ctr"/>
            <a:r>
              <a:rPr lang="it-IT" sz="3200" dirty="0" smtClean="0">
                <a:solidFill>
                  <a:prstClr val="black"/>
                </a:solidFill>
                <a:hlinkClick r:id="rId3"/>
              </a:rPr>
              <a:t>strategia.innovazione@regione.sicilia.it</a:t>
            </a:r>
            <a:r>
              <a:rPr lang="it-IT" sz="3200" dirty="0" smtClean="0">
                <a:solidFill>
                  <a:prstClr val="black"/>
                </a:solidFill>
              </a:rPr>
              <a:t> </a:t>
            </a:r>
            <a:endParaRPr lang="it-IT" sz="3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70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3297305208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2030654452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591164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1" name="Immagine 8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5500" y="2349500"/>
            <a:ext cx="7145338" cy="401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2" name="Rectangle 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2627313" y="1285875"/>
            <a:ext cx="5016500" cy="6429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lnSpc>
                <a:spcPct val="118000"/>
              </a:lnSpc>
            </a:pPr>
            <a:r>
              <a:rPr lang="it-IT" smtClean="0">
                <a:solidFill>
                  <a:srgbClr val="2D2D8B"/>
                </a:solidFill>
                <a:latin typeface="Arial-BoldMT"/>
                <a:ea typeface="Arial-BoldMT"/>
                <a:cs typeface="Arial-BoldMT"/>
              </a:rPr>
              <a:t> 3 Passi per Partecipare</a:t>
            </a:r>
          </a:p>
        </p:txBody>
      </p:sp>
      <p:sp>
        <p:nvSpPr>
          <p:cNvPr id="40963" name="Ovale 7"/>
          <p:cNvSpPr>
            <a:spLocks noChangeArrowheads="1"/>
          </p:cNvSpPr>
          <p:nvPr/>
        </p:nvSpPr>
        <p:spPr bwMode="auto">
          <a:xfrm>
            <a:off x="6265863" y="2924175"/>
            <a:ext cx="1368425" cy="649288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40964" name="CasellaDiTesto 1"/>
          <p:cNvSpPr txBox="1">
            <a:spLocks noChangeArrowheads="1"/>
          </p:cNvSpPr>
          <p:nvPr/>
        </p:nvSpPr>
        <p:spPr bwMode="auto">
          <a:xfrm>
            <a:off x="3419475" y="1878013"/>
            <a:ext cx="4392613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>
                <a:solidFill>
                  <a:srgbClr val="FF0000"/>
                </a:solidFill>
              </a:rPr>
              <a:t>ENTRARE SU INNOVATORIPA.IT E CLICCARE SU ACCEDI CON FORMEZAUTH</a:t>
            </a:r>
          </a:p>
        </p:txBody>
      </p:sp>
    </p:spTree>
    <p:extLst>
      <p:ext uri="{BB962C8B-B14F-4D97-AF65-F5344CB8AC3E}">
        <p14:creationId xmlns:p14="http://schemas.microsoft.com/office/powerpoint/2010/main" val="4232864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563938" y="1285875"/>
            <a:ext cx="4079875" cy="6429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lnSpc>
                <a:spcPct val="118000"/>
              </a:lnSpc>
            </a:pPr>
            <a:r>
              <a:rPr lang="it-IT" smtClean="0">
                <a:solidFill>
                  <a:srgbClr val="2D2D8B"/>
                </a:solidFill>
                <a:latin typeface="Arial-BoldMT"/>
                <a:ea typeface="Arial-BoldMT"/>
                <a:cs typeface="Arial-BoldMT"/>
              </a:rPr>
              <a:t> 3 Passi per Partecipare</a:t>
            </a:r>
          </a:p>
        </p:txBody>
      </p:sp>
      <p:pic>
        <p:nvPicPr>
          <p:cNvPr id="41986" name="Immagin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46200" y="2420938"/>
            <a:ext cx="6916738" cy="3887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87" name="Ovale 3"/>
          <p:cNvSpPr>
            <a:spLocks noChangeArrowheads="1"/>
          </p:cNvSpPr>
          <p:nvPr/>
        </p:nvSpPr>
        <p:spPr bwMode="auto">
          <a:xfrm>
            <a:off x="2195513" y="5300663"/>
            <a:ext cx="1368425" cy="649287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41988" name="CasellaDiTesto 6"/>
          <p:cNvSpPr txBox="1">
            <a:spLocks noChangeArrowheads="1"/>
          </p:cNvSpPr>
          <p:nvPr/>
        </p:nvSpPr>
        <p:spPr bwMode="auto">
          <a:xfrm>
            <a:off x="3419475" y="1878013"/>
            <a:ext cx="4392613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>
                <a:solidFill>
                  <a:srgbClr val="FF0000"/>
                </a:solidFill>
              </a:rPr>
              <a:t>CLICCARE SU REGISTRATI E CREARE UN PROFILO SULLA PIATTAFORMA  INNOVATORIPA</a:t>
            </a:r>
          </a:p>
        </p:txBody>
      </p:sp>
    </p:spTree>
    <p:extLst>
      <p:ext uri="{BB962C8B-B14F-4D97-AF65-F5344CB8AC3E}">
        <p14:creationId xmlns:p14="http://schemas.microsoft.com/office/powerpoint/2010/main" val="417335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683125" y="1285875"/>
            <a:ext cx="2960688" cy="6429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lnSpc>
                <a:spcPct val="118000"/>
              </a:lnSpc>
            </a:pPr>
            <a:r>
              <a:rPr lang="it-IT" smtClean="0">
                <a:solidFill>
                  <a:srgbClr val="2D2D8B"/>
                </a:solidFill>
                <a:latin typeface="Arial-BoldMT"/>
                <a:ea typeface="Arial-BoldMT"/>
                <a:cs typeface="Arial-BoldMT"/>
              </a:rPr>
              <a:t> Partecipa</a:t>
            </a:r>
          </a:p>
        </p:txBody>
      </p:sp>
      <p:pic>
        <p:nvPicPr>
          <p:cNvPr id="43010" name="Immagin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213" y="2420938"/>
            <a:ext cx="7559675" cy="425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1" name="Ovale 3"/>
          <p:cNvSpPr>
            <a:spLocks noChangeArrowheads="1"/>
          </p:cNvSpPr>
          <p:nvPr/>
        </p:nvSpPr>
        <p:spPr bwMode="auto">
          <a:xfrm>
            <a:off x="5795963" y="4941888"/>
            <a:ext cx="1368425" cy="647700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43012" name="CasellaDiTesto 5"/>
          <p:cNvSpPr txBox="1">
            <a:spLocks noChangeArrowheads="1"/>
          </p:cNvSpPr>
          <p:nvPr/>
        </p:nvSpPr>
        <p:spPr bwMode="auto">
          <a:xfrm>
            <a:off x="3203575" y="1878013"/>
            <a:ext cx="51847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 dirty="0" smtClean="0">
                <a:solidFill>
                  <a:srgbClr val="FF0000"/>
                </a:solidFill>
              </a:rPr>
              <a:t>CERCARE </a:t>
            </a:r>
            <a:r>
              <a:rPr lang="it-IT" sz="1400" dirty="0">
                <a:solidFill>
                  <a:srgbClr val="FF0000"/>
                </a:solidFill>
              </a:rPr>
              <a:t>TRA LE COMMUNITY «STRATEGIA INNOVAZIONE SICILIA» E CLICCARE SU PARTECIPA. </a:t>
            </a:r>
          </a:p>
        </p:txBody>
      </p:sp>
    </p:spTree>
    <p:extLst>
      <p:ext uri="{BB962C8B-B14F-4D97-AF65-F5344CB8AC3E}">
        <p14:creationId xmlns:p14="http://schemas.microsoft.com/office/powerpoint/2010/main" val="418110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4001122630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23919095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88355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a 1"/>
          <p:cNvGraphicFramePr/>
          <p:nvPr>
            <p:extLst/>
          </p:nvPr>
        </p:nvGraphicFramePr>
        <p:xfrm>
          <a:off x="185051" y="1687374"/>
          <a:ext cx="1794661" cy="4533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olo 1"/>
          <p:cNvSpPr txBox="1">
            <a:spLocks/>
          </p:cNvSpPr>
          <p:nvPr/>
        </p:nvSpPr>
        <p:spPr bwMode="auto">
          <a:xfrm>
            <a:off x="467544" y="804783"/>
            <a:ext cx="7769469" cy="663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3231" rIns="0" bIns="0"/>
          <a:lstStyle>
            <a:defPPr lvl="0">
              <a:buSzPct val="45000"/>
              <a:buFont typeface="StarSymbol"/>
              <a:buNone/>
              <a:defRPr/>
            </a:defPPr>
            <a:lvl1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lvl="1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lvl="2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lvl="3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lvl="4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lvl="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lvl="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lvl="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lvl="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 lvl="0">
              <a:buNone/>
            </a:pPr>
            <a:r>
              <a:rPr lang="it-IT" sz="4000" dirty="0">
                <a:solidFill>
                  <a:schemeClr val="accent1">
                    <a:lumMod val="75000"/>
                  </a:schemeClr>
                </a:solidFill>
              </a:rPr>
              <a:t>Modalità di </a:t>
            </a:r>
            <a:r>
              <a:rPr lang="it-IT" sz="4000" dirty="0" smtClean="0">
                <a:solidFill>
                  <a:schemeClr val="accent1">
                    <a:lumMod val="75000"/>
                  </a:schemeClr>
                </a:solidFill>
              </a:rPr>
              <a:t>lavoro (1)</a:t>
            </a:r>
            <a:endParaRPr lang="it-IT" sz="40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4" name="Segnaposto contenuto 4"/>
          <p:cNvGraphicFramePr>
            <a:graphicFrameLocks/>
          </p:cNvGraphicFramePr>
          <p:nvPr/>
        </p:nvGraphicFramePr>
        <p:xfrm>
          <a:off x="1184709" y="1567870"/>
          <a:ext cx="7574833" cy="72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5" name="Diagramma 4"/>
          <p:cNvGraphicFramePr/>
          <p:nvPr>
            <p:extLst/>
          </p:nvPr>
        </p:nvGraphicFramePr>
        <p:xfrm>
          <a:off x="2312057" y="190021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6" name="Diagramma 5"/>
          <p:cNvGraphicFramePr/>
          <p:nvPr>
            <p:extLst/>
          </p:nvPr>
        </p:nvGraphicFramePr>
        <p:xfrm>
          <a:off x="6699005" y="1833746"/>
          <a:ext cx="2127006" cy="838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pSp>
        <p:nvGrpSpPr>
          <p:cNvPr id="8" name="Gruppo 7"/>
          <p:cNvGrpSpPr/>
          <p:nvPr/>
        </p:nvGrpSpPr>
        <p:grpSpPr>
          <a:xfrm>
            <a:off x="6765475" y="5223661"/>
            <a:ext cx="2125797" cy="997034"/>
            <a:chOff x="1308" y="27903"/>
            <a:chExt cx="2302947" cy="764184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tangolo 8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tangolo 9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Lavoro a distanza  e/o in presenza</a:t>
              </a:r>
            </a:p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Entro il 21 maggio 2014</a:t>
              </a:r>
            </a:p>
          </p:txBody>
        </p:sp>
      </p:grpSp>
      <p:grpSp>
        <p:nvGrpSpPr>
          <p:cNvPr id="11" name="Gruppo 10"/>
          <p:cNvGrpSpPr/>
          <p:nvPr/>
        </p:nvGrpSpPr>
        <p:grpSpPr>
          <a:xfrm>
            <a:off x="1979713" y="5290130"/>
            <a:ext cx="2125797" cy="705401"/>
            <a:chOff x="1308" y="27903"/>
            <a:chExt cx="2302947" cy="764184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2" name="Rettangolo 11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ttangolo 12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A distanza</a:t>
              </a:r>
            </a:p>
          </p:txBody>
        </p:sp>
      </p:grpSp>
      <p:grpSp>
        <p:nvGrpSpPr>
          <p:cNvPr id="14" name="Gruppo 13"/>
          <p:cNvGrpSpPr/>
          <p:nvPr/>
        </p:nvGrpSpPr>
        <p:grpSpPr>
          <a:xfrm>
            <a:off x="1913244" y="1966684"/>
            <a:ext cx="2125797" cy="705401"/>
            <a:chOff x="1308" y="27903"/>
            <a:chExt cx="2302947" cy="764184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5" name="Rettangolo 14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ttangolo 15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In presenza</a:t>
              </a:r>
            </a:p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29-30 maggio 2014</a:t>
              </a:r>
            </a:p>
          </p:txBody>
        </p:sp>
      </p:grpSp>
      <p:pic>
        <p:nvPicPr>
          <p:cNvPr id="17" name="Immagine 1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3695" y="3960751"/>
            <a:ext cx="1428135" cy="930565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18" name="Freccia a sinistra 17"/>
          <p:cNvSpPr/>
          <p:nvPr/>
        </p:nvSpPr>
        <p:spPr bwMode="auto">
          <a:xfrm>
            <a:off x="6898412" y="4492503"/>
            <a:ext cx="398814" cy="398814"/>
          </a:xfrm>
          <a:prstGeom prst="leftArrow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endParaRPr lang="it-IT" sz="2031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7297226" y="3561939"/>
            <a:ext cx="1594046" cy="341006"/>
          </a:xfrm>
          <a:prstGeom prst="rect">
            <a:avLst/>
          </a:prstGeom>
          <a:noFill/>
        </p:spPr>
        <p:txBody>
          <a:bodyPr wrap="square" lIns="84406" tIns="42203" rIns="84406" bIns="42203">
            <a:spAutoFit/>
          </a:bodyPr>
          <a:lstStyle/>
          <a:p>
            <a:pPr algn="ctr"/>
            <a:r>
              <a:rPr lang="it-IT" sz="1662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novatori PA</a:t>
            </a:r>
          </a:p>
        </p:txBody>
      </p:sp>
    </p:spTree>
    <p:extLst>
      <p:ext uri="{BB962C8B-B14F-4D97-AF65-F5344CB8AC3E}">
        <p14:creationId xmlns:p14="http://schemas.microsoft.com/office/powerpoint/2010/main" val="1466957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 txBox="1">
            <a:spLocks/>
          </p:cNvSpPr>
          <p:nvPr/>
        </p:nvSpPr>
        <p:spPr bwMode="auto">
          <a:xfrm>
            <a:off x="467544" y="836712"/>
            <a:ext cx="7769469" cy="663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3231" rIns="0" bIns="0"/>
          <a:lstStyle>
            <a:defPPr lvl="0">
              <a:buSzPct val="45000"/>
              <a:buFont typeface="StarSymbol"/>
              <a:buNone/>
              <a:defRPr/>
            </a:defPPr>
            <a:lvl1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lvl="1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lvl="2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lvl="3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lvl="4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lvl="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lvl="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lvl="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lvl="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 lvl="0">
              <a:buNone/>
            </a:pPr>
            <a:r>
              <a:rPr lang="it-IT" sz="2800" dirty="0">
                <a:solidFill>
                  <a:schemeClr val="accent1">
                    <a:lumMod val="75000"/>
                  </a:schemeClr>
                </a:solidFill>
              </a:rPr>
              <a:t>Modalità di lavoro </a:t>
            </a:r>
            <a:r>
              <a:rPr lang="it-IT" sz="2800" dirty="0" smtClean="0">
                <a:solidFill>
                  <a:schemeClr val="accent1">
                    <a:lumMod val="75000"/>
                  </a:schemeClr>
                </a:solidFill>
              </a:rPr>
              <a:t>(2)</a:t>
            </a:r>
            <a:endParaRPr lang="it-IT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4" name="Segnaposto contenuto 4"/>
          <p:cNvGraphicFramePr>
            <a:graphicFrameLocks/>
          </p:cNvGraphicFramePr>
          <p:nvPr/>
        </p:nvGraphicFramePr>
        <p:xfrm>
          <a:off x="1184709" y="1567870"/>
          <a:ext cx="7574833" cy="72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uppo 4"/>
          <p:cNvGrpSpPr/>
          <p:nvPr/>
        </p:nvGrpSpPr>
        <p:grpSpPr>
          <a:xfrm>
            <a:off x="52113" y="1687374"/>
            <a:ext cx="1661723" cy="4533320"/>
            <a:chOff x="0" y="0"/>
            <a:chExt cx="1942318" cy="4911097"/>
          </a:xfrm>
          <a:scene3d>
            <a:camera prst="orthographicFront"/>
            <a:lightRig rig="flat" dir="t"/>
          </a:scene3d>
        </p:grpSpPr>
        <p:sp>
          <p:nvSpPr>
            <p:cNvPr id="6" name="Rettangolo arrotondato 5"/>
            <p:cNvSpPr/>
            <p:nvPr/>
          </p:nvSpPr>
          <p:spPr>
            <a:xfrm>
              <a:off x="0" y="0"/>
              <a:ext cx="1942318" cy="4911097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ttangolo 6"/>
            <p:cNvSpPr/>
            <p:nvPr/>
          </p:nvSpPr>
          <p:spPr>
            <a:xfrm>
              <a:off x="94816" y="94816"/>
              <a:ext cx="1752686" cy="47214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4406" tIns="42203" rIns="84406" bIns="42203" numCol="1" spcCol="1270" anchor="ctr" anchorCtr="0">
              <a:noAutofit/>
            </a:bodyPr>
            <a:lstStyle/>
            <a:p>
              <a:pPr algn="ctr" defTabSz="98476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2215" b="1" dirty="0"/>
                <a:t>TAVOLI TEMATICI</a:t>
              </a:r>
            </a:p>
          </p:txBody>
        </p:sp>
      </p:grpSp>
      <p:graphicFrame>
        <p:nvGraphicFramePr>
          <p:cNvPr id="8" name="Tabella 7"/>
          <p:cNvGraphicFramePr>
            <a:graphicFrameLocks noGrp="1"/>
          </p:cNvGraphicFramePr>
          <p:nvPr/>
        </p:nvGraphicFramePr>
        <p:xfrm>
          <a:off x="2710870" y="1633622"/>
          <a:ext cx="5121761" cy="4500166"/>
        </p:xfrm>
        <a:graphic>
          <a:graphicData uri="http://schemas.openxmlformats.org/drawingml/2006/table">
            <a:tbl>
              <a:tblPr/>
              <a:tblGrid>
                <a:gridCol w="1520061"/>
                <a:gridCol w="2132309"/>
                <a:gridCol w="348347"/>
                <a:gridCol w="253343"/>
                <a:gridCol w="392682"/>
                <a:gridCol w="475019"/>
              </a:tblGrid>
              <a:tr h="277758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it-IT" sz="17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IANO DI LAVORO TAVOLO TEMATIC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218660">
                <a:tc>
                  <a:txBody>
                    <a:bodyPr/>
                    <a:lstStyle/>
                    <a:p>
                      <a:pPr algn="l" fontAlgn="b"/>
                      <a:endParaRPr lang="it-IT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6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mbito tematic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166950"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775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ema di approfondiment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Questioni specifiche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tributi laboratori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343534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sa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hi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e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ntro il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 Sistema produttiv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 Quali sono i punti di forza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 Quali sono i punti di debolezza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 Quali sono i vantaggi competitiv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Sistema  della conoscenza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. Chi sono gli attori pubblici e privat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 Quali  sono le competenze scientifiche attivate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 Quali sono gli ambiti di sviluppo tecnologico più important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 Quali sono le linee di innovazione  e ricerca più promettent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 Chi e come è presente nelle reti extra-regional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 Indicazioni di priorit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1 A quali  esigenze/sfide del territorio rispondono 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.2 Quali sono i/le segmenti/nicchie di attività più promettenti per il futuro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 Il contributo delle KET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 L'incidenza delle KET (Micro  elettronica, biotecnologie e ICT) 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83667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 Il potenziale ruolo dell'innovazione sociale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1 C'è un possibile ruolo per l'innovazione sociale? Se si, quale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667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 Le intersezioni con altri ambiti tematici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  Sono rilevate intersezioni con altri ambiti tecnologici e produttivi.Qual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Diagramma 1"/>
          <p:cNvGraphicFramePr/>
          <p:nvPr>
            <p:extLst/>
          </p:nvPr>
        </p:nvGraphicFramePr>
        <p:xfrm>
          <a:off x="583865" y="1900215"/>
          <a:ext cx="9046471" cy="50895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187262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2388494867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815822349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064870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527505551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3798691007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11593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998018"/>
              </p:ext>
            </p:extLst>
          </p:nvPr>
        </p:nvGraphicFramePr>
        <p:xfrm>
          <a:off x="1115616" y="1700808"/>
          <a:ext cx="7200800" cy="366583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45072"/>
                <a:gridCol w="974975"/>
                <a:gridCol w="5180753"/>
              </a:tblGrid>
              <a:tr h="36658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09:30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09:45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Introduzione lavori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6583">
                <a:tc rowSpan="4" gridSpan="2">
                  <a:txBody>
                    <a:bodyPr/>
                    <a:lstStyle/>
                    <a:p>
                      <a:pPr algn="ctr" fontAlgn="t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t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nuela </a:t>
                      </a:r>
                      <a:r>
                        <a:rPr lang="it-IT" sz="1400" b="1" u="none" strike="noStrike" kern="12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ccione</a:t>
                      </a:r>
                      <a:endParaRPr lang="it-IT" sz="800" b="1" u="none" strike="noStrike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ctr" fontAlgn="t"/>
                      <a:r>
                        <a:rPr lang="it-IT" sz="1600" b="1" i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sz="1400" b="1" i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Regione Siciliana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 rowSpan="4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hi siamo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Perché siamo qui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osa dobbiamo fare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Modalità di lavoro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09:45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0:0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A che punto è la definizione della RIS 3 Sicilia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6583">
                <a:tc rowSpan="3" gridSpan="2">
                  <a:txBody>
                    <a:bodyPr/>
                    <a:lstStyle/>
                    <a:p>
                      <a:pPr algn="ctr" fontAlgn="t"/>
                      <a:endParaRPr lang="it-IT" sz="1600" b="1" u="none" strike="noStrike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marL="0" algn="ctr" defTabSz="914400" rtl="0" eaLnBrk="1" fontAlgn="t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nuele </a:t>
                      </a:r>
                      <a:r>
                        <a:rPr lang="it-IT" sz="1400" b="1" u="none" strike="noStrike" kern="1200" dirty="0" err="1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uccione</a:t>
                      </a:r>
                      <a:endParaRPr lang="it-IT" sz="1400" b="1" u="none" strike="noStrike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t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e Siciliana</a:t>
                      </a:r>
                      <a:endParaRPr lang="it-IT" sz="1400" b="1" i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 rowSpan="3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corso svolto</a:t>
                      </a: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ssime tappe</a:t>
                      </a: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ion, selezione priorità e policy mix</a:t>
                      </a:r>
                    </a:p>
                  </a:txBody>
                  <a:tcPr marL="9525" marR="9525" marT="9525" marB="0" anchor="b"/>
                </a:tc>
              </a:tr>
              <a:tr h="36658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0:00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0:20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Interventi di </a:t>
                      </a:r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hiarimenti/</a:t>
                      </a:r>
                      <a:r>
                        <a:rPr lang="it-IT" sz="1600" b="1" u="none" strike="noStrike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onfronto </a:t>
                      </a:r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/ condivisione 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Diagramma 6"/>
          <p:cNvGraphicFramePr/>
          <p:nvPr>
            <p:extLst/>
          </p:nvPr>
        </p:nvGraphicFramePr>
        <p:xfrm>
          <a:off x="1115616" y="1340768"/>
          <a:ext cx="727280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64126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28575" algn="ctr">
          <a:solidFill>
            <a:srgbClr val="FF0000"/>
          </a:solidFill>
          <a:round/>
          <a:headEnd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</TotalTime>
  <Words>2936</Words>
  <Application>Microsoft Office PowerPoint</Application>
  <PresentationFormat>Presentazione su schermo (4:3)</PresentationFormat>
  <Paragraphs>457</Paragraphs>
  <Slides>32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2</vt:i4>
      </vt:variant>
    </vt:vector>
  </HeadingPairs>
  <TitlesOfParts>
    <vt:vector size="35" baseType="lpstr">
      <vt:lpstr>Tema di Office</vt:lpstr>
      <vt:lpstr>3_Default Design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  A che punto è la definizione della RIS 3 Sicilia: prossime tappe Azioni previste e risultati attesi nei prossimi mesi  (aprile-dicembre 2014) </vt:lpstr>
      <vt:lpstr>La RIS 3 Sicilia ha avviato un processo per valorizzare  il potenziale individuato attraverso:</vt:lpstr>
      <vt:lpstr>Obiettivi</vt:lpstr>
      <vt:lpstr>Presentazione standard di PowerPoint</vt:lpstr>
      <vt:lpstr>Il perseguimento dei tre obiettivi verrà effettuato mediante un approccio logico duale 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 3 Passi per Partecipare</vt:lpstr>
      <vt:lpstr> 3 Passi per Partecipare</vt:lpstr>
      <vt:lpstr> Partecipa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User</dc:creator>
  <cp:lastModifiedBy>User</cp:lastModifiedBy>
  <cp:revision>29</cp:revision>
  <dcterms:created xsi:type="dcterms:W3CDTF">2014-05-08T10:30:04Z</dcterms:created>
  <dcterms:modified xsi:type="dcterms:W3CDTF">2014-05-10T07:25:06Z</dcterms:modified>
</cp:coreProperties>
</file>